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85" r:id="rId1"/>
    <p:sldMasterId id="2147485261" r:id="rId2"/>
  </p:sldMasterIdLst>
  <p:notesMasterIdLst>
    <p:notesMasterId r:id="rId15"/>
  </p:notesMasterIdLst>
  <p:handoutMasterIdLst>
    <p:handoutMasterId r:id="rId16"/>
  </p:handoutMasterIdLst>
  <p:sldIdLst>
    <p:sldId id="1491" r:id="rId3"/>
    <p:sldId id="1492" r:id="rId4"/>
    <p:sldId id="1493" r:id="rId5"/>
    <p:sldId id="1494" r:id="rId6"/>
    <p:sldId id="1495" r:id="rId7"/>
    <p:sldId id="1496" r:id="rId8"/>
    <p:sldId id="1497" r:id="rId9"/>
    <p:sldId id="1498" r:id="rId10"/>
    <p:sldId id="1499" r:id="rId11"/>
    <p:sldId id="1500" r:id="rId12"/>
    <p:sldId id="1501" r:id="rId13"/>
    <p:sldId id="1502" r:id="rId14"/>
  </p:sldIdLst>
  <p:sldSz cx="12192000" cy="6858000"/>
  <p:notesSz cx="6950075" cy="9236075"/>
  <p:custShowLst>
    <p:custShow name="Format Guide Workshop" id="0">
      <p:sldLst/>
    </p:custShow>
  </p:custShowLst>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phanie kuhlmann" initials="sk" lastIdx="37" clrIdx="0">
    <p:extLst>
      <p:ext uri="{19B8F6BF-5375-455C-9EA6-DF929625EA0E}">
        <p15:presenceInfo xmlns:p15="http://schemas.microsoft.com/office/powerpoint/2012/main" userId="cdebdb78e392702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2A58"/>
    <a:srgbClr val="0C4592"/>
    <a:srgbClr val="ADADAD"/>
    <a:srgbClr val="28802A"/>
    <a:srgbClr val="EDAE1D"/>
    <a:srgbClr val="9B2525"/>
    <a:srgbClr val="051934"/>
    <a:srgbClr val="193265"/>
    <a:srgbClr val="204184"/>
    <a:srgbClr val="83A2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1881" autoAdjust="0"/>
    <p:restoredTop sz="69578" autoAdjust="0"/>
  </p:normalViewPr>
  <p:slideViewPr>
    <p:cSldViewPr snapToGrid="0">
      <p:cViewPr varScale="1">
        <p:scale>
          <a:sx n="102" d="100"/>
          <a:sy n="102" d="100"/>
        </p:scale>
        <p:origin x="3088" y="17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8/30/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mn-lt"/>
              <a:ea typeface="+mn-ea"/>
              <a:cs typeface="+mn-cs"/>
              <a:sym typeface="+mn-lt"/>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sym typeface="+mn-lt"/>
              </a:defRPr>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sym typeface="+mn-lt"/>
              </a:defRPr>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sym typeface="+mn-lt"/>
              </a:defRPr>
            </a:lvl1pPr>
          </a:lstStyle>
          <a:p>
            <a:r>
              <a:rPr lang="en-US"/>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sym typeface="+mn-lt"/>
              </a:defRPr>
            </a:lvl1pPr>
          </a:lstStyle>
          <a:p>
            <a:fld id="{F2C7CF5F-7CF3-4DF3-838A-EE34544862CC}" type="datetimeFigureOut">
              <a:rPr lang="en-US" smtClean="0"/>
              <a:pPr/>
              <a:t>8/30/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88348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Falk A, Benda A, Falk P, Steffen S, Wallace Z, Høeg TB. COVID-19 Cases and Transmission in 17 K–12 Schools — Wood County, Wisconsin, August 31–November 29, 2020. MMWR Morb Mortal Wkly Rep 2021;70:136–140. DOI: http://dx.doi.org/10.15585/mmwr.mm7004e3</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sym typeface="+mn-lt"/>
            </a:endParaRPr>
          </a:p>
        </p:txBody>
      </p:sp>
    </p:spTree>
    <p:extLst>
      <p:ext uri="{BB962C8B-B14F-4D97-AF65-F5344CB8AC3E}">
        <p14:creationId xmlns:p14="http://schemas.microsoft.com/office/powerpoint/2010/main" val="37331562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4288250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Falk A, Benda A, Falk P, Steffen S, Wallace Z, Høeg TB. COVID-19 Cases and Transmission in 17 K–12 Schools — Wood County, Wisconsin, August 31–November 29, 2020. MMWR Morb Mortal Wkly Rep 2021;70:136–140. DOI: http://dx.doi.org/10.15585/mmwr.mm7004e3</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sym typeface="+mn-lt"/>
            </a:endParaRPr>
          </a:p>
        </p:txBody>
      </p:sp>
    </p:spTree>
    <p:extLst>
      <p:ext uri="{BB962C8B-B14F-4D97-AF65-F5344CB8AC3E}">
        <p14:creationId xmlns:p14="http://schemas.microsoft.com/office/powerpoint/2010/main" val="13713507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Falk A, Benda A, Falk P, Steffen S, Wallace Z, Høeg TB. COVID-19 Cases and Transmission in 17 K–12 Schools — Wood County, Wisconsin, August 31–November 29, 2020. MMWR Morb Mortal Wkly Rep 2021;70:136–140. DOI: http://dx.doi.org/10.15585/mmwr.mm7004e3</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sym typeface="+mn-lt"/>
            </a:endParaRPr>
          </a:p>
        </p:txBody>
      </p:sp>
    </p:spTree>
    <p:extLst>
      <p:ext uri="{BB962C8B-B14F-4D97-AF65-F5344CB8AC3E}">
        <p14:creationId xmlns:p14="http://schemas.microsoft.com/office/powerpoint/2010/main" val="620013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sym typeface="+mn-lt"/>
            </a:endParaRPr>
          </a:p>
        </p:txBody>
      </p:sp>
    </p:spTree>
    <p:extLst>
      <p:ext uri="{BB962C8B-B14F-4D97-AF65-F5344CB8AC3E}">
        <p14:creationId xmlns:p14="http://schemas.microsoft.com/office/powerpoint/2010/main" val="285730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sym typeface="+mn-lt"/>
            </a:endParaRPr>
          </a:p>
        </p:txBody>
      </p:sp>
    </p:spTree>
    <p:extLst>
      <p:ext uri="{BB962C8B-B14F-4D97-AF65-F5344CB8AC3E}">
        <p14:creationId xmlns:p14="http://schemas.microsoft.com/office/powerpoint/2010/main" val="15026114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sym typeface="+mn-lt"/>
            </a:endParaRPr>
          </a:p>
        </p:txBody>
      </p:sp>
    </p:spTree>
    <p:extLst>
      <p:ext uri="{BB962C8B-B14F-4D97-AF65-F5344CB8AC3E}">
        <p14:creationId xmlns:p14="http://schemas.microsoft.com/office/powerpoint/2010/main" val="2981006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sym typeface="+mn-lt"/>
            </a:endParaRPr>
          </a:p>
        </p:txBody>
      </p:sp>
    </p:spTree>
    <p:extLst>
      <p:ext uri="{BB962C8B-B14F-4D97-AF65-F5344CB8AC3E}">
        <p14:creationId xmlns:p14="http://schemas.microsoft.com/office/powerpoint/2010/main" val="13948975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sym typeface="+mn-lt"/>
            </a:endParaRPr>
          </a:p>
        </p:txBody>
      </p:sp>
    </p:spTree>
    <p:extLst>
      <p:ext uri="{BB962C8B-B14F-4D97-AF65-F5344CB8AC3E}">
        <p14:creationId xmlns:p14="http://schemas.microsoft.com/office/powerpoint/2010/main" val="17477918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sym typeface="+mn-lt"/>
            </a:endParaRPr>
          </a:p>
        </p:txBody>
      </p:sp>
    </p:spTree>
    <p:extLst>
      <p:ext uri="{BB962C8B-B14F-4D97-AF65-F5344CB8AC3E}">
        <p14:creationId xmlns:p14="http://schemas.microsoft.com/office/powerpoint/2010/main" val="24463961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5.vml"/><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6.pn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6.png"/><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pn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6.png"/><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7.png"/><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8.png"/><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0.png"/><Relationship Id="rId2" Type="http://schemas.openxmlformats.org/officeDocument/2006/relationships/tags" Target="../tags/tag42.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8.png"/><Relationship Id="rId2" Type="http://schemas.openxmlformats.org/officeDocument/2006/relationships/tags" Target="../tags/tag44.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7.png"/><Relationship Id="rId2" Type="http://schemas.openxmlformats.org/officeDocument/2006/relationships/tags" Target="../tags/tag46.xml"/><Relationship Id="rId1" Type="http://schemas.openxmlformats.org/officeDocument/2006/relationships/vmlDrawing" Target="../drawings/vmlDrawing25.vml"/><Relationship Id="rId6" Type="http://schemas.openxmlformats.org/officeDocument/2006/relationships/image" Target="../media/image4.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8.png"/><Relationship Id="rId2" Type="http://schemas.openxmlformats.org/officeDocument/2006/relationships/tags" Target="../tags/tag48.xml"/><Relationship Id="rId1" Type="http://schemas.openxmlformats.org/officeDocument/2006/relationships/vmlDrawing" Target="../drawings/vmlDrawing26.vml"/><Relationship Id="rId6" Type="http://schemas.openxmlformats.org/officeDocument/2006/relationships/image" Target="../media/image4.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7.png"/><Relationship Id="rId2" Type="http://schemas.openxmlformats.org/officeDocument/2006/relationships/tags" Target="../tags/tag50.xml"/><Relationship Id="rId1" Type="http://schemas.openxmlformats.org/officeDocument/2006/relationships/vmlDrawing" Target="../drawings/vmlDrawing27.vml"/><Relationship Id="rId6" Type="http://schemas.openxmlformats.org/officeDocument/2006/relationships/image" Target="../media/image4.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8.png"/><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9.vml"/><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30.vml"/><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1.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33.vml"/><Relationship Id="rId5" Type="http://schemas.openxmlformats.org/officeDocument/2006/relationships/image" Target="../media/image4.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34.vml"/><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35.vml"/><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36.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7.vml"/><Relationship Id="rId5" Type="http://schemas.openxmlformats.org/officeDocument/2006/relationships/image" Target="../media/image4.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3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40.vml"/><Relationship Id="rId5" Type="http://schemas.openxmlformats.org/officeDocument/2006/relationships/image" Target="../media/image4.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vmlDrawing" Target="../drawings/vmlDrawing42.vml"/><Relationship Id="rId5" Type="http://schemas.openxmlformats.org/officeDocument/2006/relationships/image" Target="../media/image4.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43.vml"/><Relationship Id="rId5" Type="http://schemas.openxmlformats.org/officeDocument/2006/relationships/image" Target="../media/image4.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6.png"/><Relationship Id="rId2" Type="http://schemas.openxmlformats.org/officeDocument/2006/relationships/tags" Target="../tags/tag72.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6.png"/><Relationship Id="rId2" Type="http://schemas.openxmlformats.org/officeDocument/2006/relationships/tags" Target="../tags/tag74.xml"/><Relationship Id="rId1" Type="http://schemas.openxmlformats.org/officeDocument/2006/relationships/vmlDrawing" Target="../drawings/vmlDrawing45.v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6.png"/><Relationship Id="rId2" Type="http://schemas.openxmlformats.org/officeDocument/2006/relationships/tags" Target="../tags/tag76.xml"/><Relationship Id="rId1" Type="http://schemas.openxmlformats.org/officeDocument/2006/relationships/vmlDrawing" Target="../drawings/vmlDrawing46.v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6.png"/><Relationship Id="rId2" Type="http://schemas.openxmlformats.org/officeDocument/2006/relationships/tags" Target="../tags/tag78.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6.png"/><Relationship Id="rId2" Type="http://schemas.openxmlformats.org/officeDocument/2006/relationships/tags" Target="../tags/tag80.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6.png"/><Relationship Id="rId2" Type="http://schemas.openxmlformats.org/officeDocument/2006/relationships/tags" Target="../tags/tag82.xml"/><Relationship Id="rId1" Type="http://schemas.openxmlformats.org/officeDocument/2006/relationships/vmlDrawing" Target="../drawings/vmlDrawing49.v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7.png"/><Relationship Id="rId2" Type="http://schemas.openxmlformats.org/officeDocument/2006/relationships/tags" Target="../tags/tag84.xml"/><Relationship Id="rId1" Type="http://schemas.openxmlformats.org/officeDocument/2006/relationships/vmlDrawing" Target="../drawings/vmlDrawing50.vml"/><Relationship Id="rId6" Type="http://schemas.openxmlformats.org/officeDocument/2006/relationships/image" Target="../media/image9.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8.png"/><Relationship Id="rId2" Type="http://schemas.openxmlformats.org/officeDocument/2006/relationships/tags" Target="../tags/tag86.xml"/><Relationship Id="rId1" Type="http://schemas.openxmlformats.org/officeDocument/2006/relationships/vmlDrawing" Target="../drawings/vmlDrawing51.vml"/><Relationship Id="rId6" Type="http://schemas.openxmlformats.org/officeDocument/2006/relationships/image" Target="../media/image4.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0.png"/><Relationship Id="rId2" Type="http://schemas.openxmlformats.org/officeDocument/2006/relationships/tags" Target="../tags/tag88.xml"/><Relationship Id="rId1" Type="http://schemas.openxmlformats.org/officeDocument/2006/relationships/vmlDrawing" Target="../drawings/vmlDrawing52.vml"/><Relationship Id="rId6" Type="http://schemas.openxmlformats.org/officeDocument/2006/relationships/image" Target="../media/image4.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8.png"/><Relationship Id="rId2" Type="http://schemas.openxmlformats.org/officeDocument/2006/relationships/tags" Target="../tags/tag90.xml"/><Relationship Id="rId1" Type="http://schemas.openxmlformats.org/officeDocument/2006/relationships/vmlDrawing" Target="../drawings/vmlDrawing53.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7.png"/><Relationship Id="rId2" Type="http://schemas.openxmlformats.org/officeDocument/2006/relationships/tags" Target="../tags/tag92.xml"/><Relationship Id="rId1" Type="http://schemas.openxmlformats.org/officeDocument/2006/relationships/vmlDrawing" Target="../drawings/vmlDrawing54.vml"/><Relationship Id="rId6" Type="http://schemas.openxmlformats.org/officeDocument/2006/relationships/image" Target="../media/image4.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8.png"/><Relationship Id="rId2" Type="http://schemas.openxmlformats.org/officeDocument/2006/relationships/tags" Target="../tags/tag94.xml"/><Relationship Id="rId1" Type="http://schemas.openxmlformats.org/officeDocument/2006/relationships/vmlDrawing" Target="../drawings/vmlDrawing55.vml"/><Relationship Id="rId6" Type="http://schemas.openxmlformats.org/officeDocument/2006/relationships/image" Target="../media/image4.emf"/><Relationship Id="rId5" Type="http://schemas.openxmlformats.org/officeDocument/2006/relationships/oleObject" Target="../embeddings/oleObject55.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7.png"/><Relationship Id="rId2" Type="http://schemas.openxmlformats.org/officeDocument/2006/relationships/tags" Target="../tags/tag96.xml"/><Relationship Id="rId1" Type="http://schemas.openxmlformats.org/officeDocument/2006/relationships/vmlDrawing" Target="../drawings/vmlDrawing56.vml"/><Relationship Id="rId6" Type="http://schemas.openxmlformats.org/officeDocument/2006/relationships/image" Target="../media/image4.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8.png"/><Relationship Id="rId2" Type="http://schemas.openxmlformats.org/officeDocument/2006/relationships/tags" Target="../tags/tag98.xml"/><Relationship Id="rId1" Type="http://schemas.openxmlformats.org/officeDocument/2006/relationships/vmlDrawing" Target="../drawings/vmlDrawing57.vml"/><Relationship Id="rId6" Type="http://schemas.openxmlformats.org/officeDocument/2006/relationships/image" Target="../media/image4.emf"/><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58.vml"/><Relationship Id="rId5" Type="http://schemas.openxmlformats.org/officeDocument/2006/relationships/image" Target="../media/image4.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59.vml"/><Relationship Id="rId5" Type="http://schemas.openxmlformats.org/officeDocument/2006/relationships/image" Target="../media/image4.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61.vml"/><Relationship Id="rId6" Type="http://schemas.openxmlformats.org/officeDocument/2006/relationships/image" Target="../media/image4.emf"/><Relationship Id="rId5" Type="http://schemas.openxmlformats.org/officeDocument/2006/relationships/oleObject" Target="../embeddings/oleObject61.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vmlDrawing" Target="../drawings/vmlDrawing62.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63.vml"/><Relationship Id="rId5" Type="http://schemas.openxmlformats.org/officeDocument/2006/relationships/image" Target="../media/image4.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vmlDrawing" Target="../drawings/vmlDrawing64.vml"/><Relationship Id="rId5" Type="http://schemas.openxmlformats.org/officeDocument/2006/relationships/image" Target="../media/image4.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vmlDrawing" Target="../drawings/vmlDrawing65.vml"/><Relationship Id="rId5" Type="http://schemas.openxmlformats.org/officeDocument/2006/relationships/image" Target="../media/image4.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vmlDrawing" Target="../drawings/vmlDrawing66.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vmlDrawing" Target="../drawings/vmlDrawing67.vml"/><Relationship Id="rId5" Type="http://schemas.openxmlformats.org/officeDocument/2006/relationships/image" Target="../media/image4.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7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8.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9.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0.xml"/><Relationship Id="rId1" Type="http://schemas.openxmlformats.org/officeDocument/2006/relationships/vmlDrawing" Target="../drawings/vmlDrawing75.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1.xml"/><Relationship Id="rId1" Type="http://schemas.openxmlformats.org/officeDocument/2006/relationships/vmlDrawing" Target="../drawings/vmlDrawing76.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24633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4041849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255698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4526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882378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88497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7444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477005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3903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1447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175727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22738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958299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746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022229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0247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38687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41469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69830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24347"/>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1630140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48158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7774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84676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50986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029116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203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742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44683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62008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930856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39300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167644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8378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974277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9629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96220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929232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2175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7751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dirty="0"/>
              <a:t>Title</a:t>
            </a:r>
          </a:p>
        </p:txBody>
      </p:sp>
    </p:spTree>
    <p:extLst>
      <p:ext uri="{BB962C8B-B14F-4D97-AF65-F5344CB8AC3E}">
        <p14:creationId xmlns:p14="http://schemas.microsoft.com/office/powerpoint/2010/main" val="3794412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825063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59896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019053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275678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537602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41446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329200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7553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3188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224557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extLst>
              <p:ext uri="{D42A27DB-BD31-4B8C-83A1-F6EECF244321}">
                <p14:modId xmlns:p14="http://schemas.microsoft.com/office/powerpoint/2010/main" val="147425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352" imgH="355" progId="TCLayout.ActiveDocument.1">
                  <p:embed/>
                </p:oleObj>
              </mc:Choice>
              <mc:Fallback>
                <p:oleObj name="think-cell Slide" r:id="rId5" imgW="352" imgH="355" progId="TCLayout.ActiveDocument.1">
                  <p:embed/>
                  <p:pic>
                    <p:nvPicPr>
                      <p:cNvPr id="29" name="Object 2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950278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50830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78013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124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dirty="0"/>
              <a:t>Title</a:t>
            </a:r>
          </a:p>
        </p:txBody>
      </p:sp>
    </p:spTree>
    <p:extLst>
      <p:ext uri="{BB962C8B-B14F-4D97-AF65-F5344CB8AC3E}">
        <p14:creationId xmlns:p14="http://schemas.microsoft.com/office/powerpoint/2010/main" val="2613894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38646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653831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72472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3546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1604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475561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65568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701467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56919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086722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35017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58468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1637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48574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47744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18746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344823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2"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3034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603635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2037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3067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9100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825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8598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59728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1448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807243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85092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653325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28417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868698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4038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290876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80856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398369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2"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43014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4164259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93680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036376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428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199392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565618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14784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3838865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9124445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88589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754666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562618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460176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27854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4522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dirty="0"/>
              <a:t>Title</a:t>
            </a:r>
          </a:p>
        </p:txBody>
      </p:sp>
    </p:spTree>
    <p:extLst>
      <p:ext uri="{BB962C8B-B14F-4D97-AF65-F5344CB8AC3E}">
        <p14:creationId xmlns:p14="http://schemas.microsoft.com/office/powerpoint/2010/main" val="3286423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240819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027900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394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n-lt"/>
                <a:ea typeface="+mn-ea"/>
                <a:cs typeface="+mn-cs"/>
                <a:sym typeface="+mn-lt"/>
              </a:rPr>
              <a:t>Agenda</a:t>
            </a:r>
          </a:p>
        </p:txBody>
      </p:sp>
    </p:spTree>
    <p:extLst>
      <p:ext uri="{BB962C8B-B14F-4D97-AF65-F5344CB8AC3E}">
        <p14:creationId xmlns:p14="http://schemas.microsoft.com/office/powerpoint/2010/main" val="1307778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2979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307897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33989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5829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48253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590577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465208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7944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5"/>
            <a:ext cx="12189631" cy="6856667"/>
          </a:xfrm>
          <a:prstGeom prst="rect">
            <a:avLst/>
          </a:prstGeom>
        </p:spPr>
      </p:pic>
      <p:sp>
        <p:nvSpPr>
          <p:cNvPr id="3" name="Subtitle 2"/>
          <p:cNvSpPr>
            <a:spLocks noGrp="1"/>
          </p:cNvSpPr>
          <p:nvPr>
            <p:ph type="subTitle" idx="1"/>
          </p:nvPr>
        </p:nvSpPr>
        <p:spPr>
          <a:xfrm>
            <a:off x="1524003" y="4326468"/>
            <a:ext cx="7480151" cy="1037659"/>
          </a:xfrm>
          <a:prstGeom prst="rect">
            <a:avLst/>
          </a:prstGeom>
        </p:spPr>
        <p:txBody>
          <a:bodyPr/>
          <a:lstStyle>
            <a:lvl1pPr marL="0" indent="0" algn="l">
              <a:buNone/>
              <a:defRPr sz="24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3"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63398957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1"/>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532470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8" y="668"/>
            <a:ext cx="12189627" cy="6856664"/>
          </a:xfrm>
          <a:prstGeom prst="rect">
            <a:avLst/>
          </a:prstGeom>
        </p:spPr>
      </p:pic>
      <p:sp>
        <p:nvSpPr>
          <p:cNvPr id="2" name="Title 1"/>
          <p:cNvSpPr>
            <a:spLocks noGrp="1"/>
          </p:cNvSpPr>
          <p:nvPr>
            <p:ph type="title"/>
          </p:nvPr>
        </p:nvSpPr>
        <p:spPr>
          <a:xfrm>
            <a:off x="1893458" y="423335"/>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8" y="3246269"/>
            <a:ext cx="8340436" cy="1500187"/>
          </a:xfrm>
          <a:prstGeom prst="rect">
            <a:avLst/>
          </a:prstGeom>
        </p:spPr>
        <p:txBody>
          <a:bodyPr tIns="182880" rIns="457200" bIns="182880" anchor="t" anchorCtr="0"/>
          <a:lstStyle>
            <a:lvl1pPr marL="0" indent="0">
              <a:buNone/>
              <a:defRPr sz="2400">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23644677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3"/>
            <a:ext cx="8610600" cy="688099"/>
          </a:xfrm>
          <a:prstGeom prst="rect">
            <a:avLst/>
          </a:prstGeom>
        </p:spPr>
        <p:txBody>
          <a:bodyPr>
            <a:normAutofit/>
          </a:bodyPr>
          <a:lstStyle>
            <a:lvl1pPr marL="0" indent="0">
              <a:buNone/>
              <a:defRPr sz="24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4435129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05211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dirty="0"/>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1553904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74499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2" name="Title 1"/>
          <p:cNvSpPr>
            <a:spLocks noGrp="1"/>
          </p:cNvSpPr>
          <p:nvPr>
            <p:ph type="title"/>
          </p:nvPr>
        </p:nvSpPr>
        <p:spPr>
          <a:xfrm>
            <a:off x="839788" y="365127"/>
            <a:ext cx="10515600" cy="1149351"/>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9" y="1681165"/>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dirty="0"/>
              <a:t>Edit Master text styles</a:t>
            </a:r>
          </a:p>
        </p:txBody>
      </p:sp>
      <p:sp>
        <p:nvSpPr>
          <p:cNvPr id="4" name="Content Placeholder 3"/>
          <p:cNvSpPr>
            <a:spLocks noGrp="1"/>
          </p:cNvSpPr>
          <p:nvPr>
            <p:ph sz="half" idx="2"/>
          </p:nvPr>
        </p:nvSpPr>
        <p:spPr>
          <a:xfrm>
            <a:off x="839789"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2" y="1681165"/>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Edit Master text styles</a:t>
            </a:r>
          </a:p>
        </p:txBody>
      </p:sp>
      <p:sp>
        <p:nvSpPr>
          <p:cNvPr id="6" name="Content Placeholder 5"/>
          <p:cNvSpPr>
            <a:spLocks noGrp="1"/>
          </p:cNvSpPr>
          <p:nvPr>
            <p:ph sz="quarter" idx="4"/>
          </p:nvPr>
        </p:nvSpPr>
        <p:spPr>
          <a:xfrm>
            <a:off x="6172202" y="2671763"/>
            <a:ext cx="5183188" cy="2980895"/>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22329628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78" indent="0">
              <a:buNone/>
              <a:defRPr/>
            </a:lvl2pPr>
            <a:lvl3pPr marL="914354" indent="0">
              <a:buNone/>
              <a:defRPr/>
            </a:lvl3pPr>
            <a:lvl4pPr marL="1371532" indent="0">
              <a:buNone/>
              <a:defRPr/>
            </a:lvl4pPr>
            <a:lvl5pPr marL="1828709"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178" indent="0" algn="r">
              <a:buNone/>
              <a:defRPr/>
            </a:lvl2pPr>
            <a:lvl3pPr marL="914354" indent="0" algn="r">
              <a:buNone/>
              <a:defRPr/>
            </a:lvl3pPr>
            <a:lvl4pPr marL="1371532" indent="0" algn="r">
              <a:buNone/>
              <a:defRPr/>
            </a:lvl4pPr>
            <a:lvl5pPr marL="1828709" indent="0" algn="r">
              <a:buNone/>
              <a:defRPr/>
            </a:lvl5pPr>
          </a:lstStyle>
          <a:p>
            <a:pPr lvl="0"/>
            <a:endParaRPr lang="en-US" dirty="0"/>
          </a:p>
        </p:txBody>
      </p:sp>
    </p:spTree>
    <p:extLst>
      <p:ext uri="{BB962C8B-B14F-4D97-AF65-F5344CB8AC3E}">
        <p14:creationId xmlns:p14="http://schemas.microsoft.com/office/powerpoint/2010/main" val="332790331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21"/>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9606401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 y="1715"/>
            <a:ext cx="12185907"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21"/>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51296218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2"/>
            <a:ext cx="12188952" cy="6852859"/>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2"/>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3"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61938011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4"/>
            <a:ext cx="9922164" cy="4932219"/>
          </a:xfrm>
        </p:spPr>
        <p:txBody>
          <a:bodyPr anchor="ctr" anchorCtr="0"/>
          <a:lstStyle>
            <a:lvl1pPr marL="0" indent="0" algn="ctr">
              <a:buNone/>
              <a:defRPr>
                <a:noFill/>
              </a:defRPr>
            </a:lvl1pPr>
          </a:lstStyle>
          <a:p>
            <a:endParaRPr lang="en-US" dirty="0"/>
          </a:p>
        </p:txBody>
      </p:sp>
      <p:sp>
        <p:nvSpPr>
          <p:cNvPr id="2" name="Date Placeholder 1"/>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6577872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1"/>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2"/>
            <a:ext cx="3932237" cy="3811588"/>
          </a:xfrm>
          <a:prstGeom prst="rect">
            <a:avLst/>
          </a:prstGeo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234945043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1"/>
          </a:xfrm>
          <a:prstGeom prst="rect">
            <a:avLst/>
          </a:prstGeom>
          <a:noFill/>
        </p:spPr>
        <p:txBody>
          <a:bodyPr anchor="ct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n-US" dirty="0"/>
          </a:p>
        </p:txBody>
      </p:sp>
      <p:sp>
        <p:nvSpPr>
          <p:cNvPr id="4" name="Text Placeholder 3"/>
          <p:cNvSpPr>
            <a:spLocks noGrp="1"/>
          </p:cNvSpPr>
          <p:nvPr>
            <p:ph type="body" sz="half" idx="2"/>
          </p:nvPr>
        </p:nvSpPr>
        <p:spPr>
          <a:xfrm>
            <a:off x="839788" y="2057402"/>
            <a:ext cx="3932237" cy="3811588"/>
          </a:xfrm>
          <a:prstGeom prst="rect">
            <a:avLst/>
          </a:prstGeo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288644218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91" y="3168075"/>
            <a:ext cx="4592495" cy="2354047"/>
          </a:xfrm>
        </p:spPr>
        <p:txBody>
          <a:bodyPr anchor="ctr">
            <a:normAutofit/>
          </a:bodyPr>
          <a:lstStyle>
            <a:lvl1pPr marL="0" indent="0">
              <a:buNone/>
              <a:defRPr sz="2000" b="0"/>
            </a:lvl1pPr>
            <a:lvl2pPr marL="457178" indent="0">
              <a:buNone/>
              <a:defRPr sz="2000"/>
            </a:lvl2pPr>
            <a:lvl3pPr marL="914354" indent="0">
              <a:buNone/>
              <a:defRPr/>
            </a:lvl3pPr>
            <a:lvl4pPr marL="1371532" indent="0">
              <a:buNone/>
              <a:defRPr/>
            </a:lvl4pPr>
            <a:lvl5pPr marL="1828709"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6" y="3168075"/>
            <a:ext cx="4592495" cy="2354047"/>
          </a:xfrm>
        </p:spPr>
        <p:txBody>
          <a:bodyPr anchor="ctr">
            <a:normAutofit/>
          </a:bodyPr>
          <a:lstStyle>
            <a:lvl1pPr marL="0" indent="0">
              <a:buNone/>
              <a:defRPr sz="2000" b="0"/>
            </a:lvl1pPr>
            <a:lvl2pPr marL="457178" indent="0">
              <a:buNone/>
              <a:defRPr sz="2000"/>
            </a:lvl2pPr>
            <a:lvl3pPr marL="914354" indent="0">
              <a:buNone/>
              <a:defRPr/>
            </a:lvl3pPr>
            <a:lvl4pPr marL="1371532" indent="0">
              <a:buNone/>
              <a:defRPr/>
            </a:lvl4pPr>
            <a:lvl5pPr marL="1828709"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1" y="5661894"/>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22332035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66896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dirty="0"/>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18556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tags" Target="../tags/tag3.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tags" Target="../tags/tag2.xml"/><Relationship Id="rId8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2" Type="http://schemas.openxmlformats.org/officeDocument/2006/relationships/slideLayout" Target="../slideLayouts/slideLayout77.xml"/><Relationship Id="rId16" Type="http://schemas.openxmlformats.org/officeDocument/2006/relationships/image" Target="../media/image12.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theme" Target="../theme/theme2.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8"/>
            </p:custDataLst>
            <p:extLst>
              <p:ext uri="{D42A27DB-BD31-4B8C-83A1-F6EECF244321}">
                <p14:modId xmlns:p14="http://schemas.microsoft.com/office/powerpoint/2010/main" val="2282681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0" imgW="270" imgH="270" progId="TCLayout.ActiveDocument.1">
                  <p:embed/>
                </p:oleObj>
              </mc:Choice>
              <mc:Fallback>
                <p:oleObj name="think-cell Slide" r:id="rId80" imgW="270" imgH="270" progId="TCLayout.ActiveDocument.1">
                  <p:embed/>
                  <p:pic>
                    <p:nvPicPr>
                      <p:cNvPr id="2" name="Object 1" hidden="1"/>
                      <p:cNvPicPr/>
                      <p:nvPr/>
                    </p:nvPicPr>
                    <p:blipFill>
                      <a:blip r:embed="rId8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79"/>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752478362"/>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259" r:id="rId8"/>
    <p:sldLayoutId id="2147485260" r:id="rId9"/>
    <p:sldLayoutId id="2147485193" r:id="rId10"/>
    <p:sldLayoutId id="2147485194" r:id="rId11"/>
    <p:sldLayoutId id="2147485195" r:id="rId12"/>
    <p:sldLayoutId id="2147485196" r:id="rId13"/>
    <p:sldLayoutId id="2147485197" r:id="rId14"/>
    <p:sldLayoutId id="2147485198" r:id="rId15"/>
    <p:sldLayoutId id="2147485199" r:id="rId16"/>
    <p:sldLayoutId id="2147485200" r:id="rId17"/>
    <p:sldLayoutId id="2147485201" r:id="rId18"/>
    <p:sldLayoutId id="2147485202" r:id="rId19"/>
    <p:sldLayoutId id="2147485203" r:id="rId20"/>
    <p:sldLayoutId id="2147485204" r:id="rId21"/>
    <p:sldLayoutId id="2147485205" r:id="rId22"/>
    <p:sldLayoutId id="2147485206" r:id="rId23"/>
    <p:sldLayoutId id="2147485207" r:id="rId24"/>
    <p:sldLayoutId id="2147485208" r:id="rId25"/>
    <p:sldLayoutId id="2147485209" r:id="rId26"/>
    <p:sldLayoutId id="2147485210" r:id="rId27"/>
    <p:sldLayoutId id="2147485211" r:id="rId28"/>
    <p:sldLayoutId id="2147485212" r:id="rId29"/>
    <p:sldLayoutId id="2147485213" r:id="rId30"/>
    <p:sldLayoutId id="2147485214" r:id="rId31"/>
    <p:sldLayoutId id="2147485215" r:id="rId32"/>
    <p:sldLayoutId id="2147485216" r:id="rId33"/>
    <p:sldLayoutId id="2147485217" r:id="rId34"/>
    <p:sldLayoutId id="2147485218" r:id="rId35"/>
    <p:sldLayoutId id="2147485219" r:id="rId36"/>
    <p:sldLayoutId id="2147485220" r:id="rId37"/>
    <p:sldLayoutId id="2147485221" r:id="rId38"/>
    <p:sldLayoutId id="2147485222" r:id="rId39"/>
    <p:sldLayoutId id="2147485223" r:id="rId40"/>
    <p:sldLayoutId id="2147485224" r:id="rId41"/>
    <p:sldLayoutId id="2147485225" r:id="rId42"/>
    <p:sldLayoutId id="2147485226" r:id="rId43"/>
    <p:sldLayoutId id="2147485227" r:id="rId44"/>
    <p:sldLayoutId id="2147485228" r:id="rId45"/>
    <p:sldLayoutId id="2147485229" r:id="rId46"/>
    <p:sldLayoutId id="2147485230" r:id="rId47"/>
    <p:sldLayoutId id="2147485231" r:id="rId48"/>
    <p:sldLayoutId id="2147485232" r:id="rId49"/>
    <p:sldLayoutId id="2147485233" r:id="rId50"/>
    <p:sldLayoutId id="2147485234" r:id="rId51"/>
    <p:sldLayoutId id="2147485235" r:id="rId52"/>
    <p:sldLayoutId id="2147485236" r:id="rId53"/>
    <p:sldLayoutId id="2147485237" r:id="rId54"/>
    <p:sldLayoutId id="2147485238" r:id="rId55"/>
    <p:sldLayoutId id="2147485239" r:id="rId56"/>
    <p:sldLayoutId id="2147485240" r:id="rId57"/>
    <p:sldLayoutId id="2147485241" r:id="rId58"/>
    <p:sldLayoutId id="2147485242" r:id="rId59"/>
    <p:sldLayoutId id="2147485243" r:id="rId60"/>
    <p:sldLayoutId id="2147485244" r:id="rId61"/>
    <p:sldLayoutId id="2147485245" r:id="rId62"/>
    <p:sldLayoutId id="2147485246" r:id="rId63"/>
    <p:sldLayoutId id="2147485247" r:id="rId64"/>
    <p:sldLayoutId id="2147485248" r:id="rId65"/>
    <p:sldLayoutId id="2147485249" r:id="rId66"/>
    <p:sldLayoutId id="2147485250" r:id="rId67"/>
    <p:sldLayoutId id="2147485251" r:id="rId68"/>
    <p:sldLayoutId id="2147485252" r:id="rId69"/>
    <p:sldLayoutId id="2147485253" r:id="rId70"/>
    <p:sldLayoutId id="2147485254" r:id="rId71"/>
    <p:sldLayoutId id="2147485255" r:id="rId72"/>
    <p:sldLayoutId id="2147485256" r:id="rId73"/>
    <p:sldLayoutId id="2147485257" r:id="rId74"/>
    <p:sldLayoutId id="2147485258" r:id="rId7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3" y="1715"/>
            <a:ext cx="12191999" cy="6854572"/>
          </a:xfrm>
          <a:prstGeom prst="rect">
            <a:avLst/>
          </a:prstGeom>
        </p:spPr>
      </p:pic>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8/30/2021</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dirty="0"/>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4938724"/>
      </p:ext>
    </p:extLst>
  </p:cSld>
  <p:clrMap bg1="lt1" tx1="dk1" bg2="lt2" tx2="dk2" accent1="accent1" accent2="accent2" accent3="accent3" accent4="accent4" accent5="accent5" accent6="accent6" hlink="hlink" folHlink="folHlink"/>
  <p:sldLayoutIdLst>
    <p:sldLayoutId id="2147485262" r:id="rId1"/>
    <p:sldLayoutId id="2147485263" r:id="rId2"/>
    <p:sldLayoutId id="2147485264" r:id="rId3"/>
    <p:sldLayoutId id="2147485265" r:id="rId4"/>
    <p:sldLayoutId id="2147485266" r:id="rId5"/>
    <p:sldLayoutId id="2147485267" r:id="rId6"/>
    <p:sldLayoutId id="2147485268" r:id="rId7"/>
    <p:sldLayoutId id="2147485269" r:id="rId8"/>
    <p:sldLayoutId id="2147485270" r:id="rId9"/>
    <p:sldLayoutId id="2147485271" r:id="rId10"/>
    <p:sldLayoutId id="2147485272" r:id="rId11"/>
    <p:sldLayoutId id="2147485273" r:id="rId12"/>
    <p:sldLayoutId id="2147485274" r:id="rId13"/>
    <p:sldLayoutId id="2147485275" r:id="rId14"/>
  </p:sldLayoutIdLst>
  <p:txStyles>
    <p:titleStyle>
      <a:lvl1pPr algn="l" defTabSz="914354"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589" indent="-228589" algn="l" defTabSz="914354"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766" indent="-228589" algn="l" defTabSz="914354"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2942" indent="-228589" algn="l" defTabSz="914354"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120" indent="-228589" algn="l" defTabSz="914354"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298" indent="-228589" algn="l" defTabSz="914354"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1.xml"/><Relationship Id="rId1" Type="http://schemas.openxmlformats.org/officeDocument/2006/relationships/slideLayout" Target="../slideLayouts/slideLayout86.xml"/></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81.xml"/><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hyperlink" Target="https://www.cdc.gov/mmwr/volumes/70/wr/mm7004e3.htm?s_cid=mm7004e3_w" TargetMode="External"/><Relationship Id="rId2" Type="http://schemas.openxmlformats.org/officeDocument/2006/relationships/notesSlide" Target="../notesSlides/notesSlide2.xml"/><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1.xml"/></Relationships>
</file>

<file path=ppt/slides/_rels/slide9.xml.rels><?xml version="1.0" encoding="UTF-8" standalone="yes"?>
<Relationships xmlns="http://schemas.openxmlformats.org/package/2006/relationships"><Relationship Id="rId3" Type="http://schemas.openxmlformats.org/officeDocument/2006/relationships/hyperlink" Target="https://www.coronavirus.kdheks.gov/DocumentCenter/View/1695/Antigen-Testing-PDF-12-22-2020" TargetMode="External"/><Relationship Id="rId2" Type="http://schemas.openxmlformats.org/officeDocument/2006/relationships/notesSlide" Target="../notesSlides/notesSlide8.xml"/><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40B9DD-7491-0E40-B3DD-51651600E7F8}"/>
              </a:ext>
            </a:extLst>
          </p:cNvPr>
          <p:cNvPicPr>
            <a:picLocks noChangeAspect="1"/>
          </p:cNvPicPr>
          <p:nvPr/>
        </p:nvPicPr>
        <p:blipFill>
          <a:blip r:embed="rId2"/>
          <a:stretch>
            <a:fillRect/>
          </a:stretch>
        </p:blipFill>
        <p:spPr>
          <a:xfrm>
            <a:off x="1286359" y="0"/>
            <a:ext cx="9955078" cy="6223627"/>
          </a:xfrm>
          <a:prstGeom prst="rect">
            <a:avLst/>
          </a:prstGeom>
        </p:spPr>
      </p:pic>
    </p:spTree>
    <p:extLst>
      <p:ext uri="{BB962C8B-B14F-4D97-AF65-F5344CB8AC3E}">
        <p14:creationId xmlns:p14="http://schemas.microsoft.com/office/powerpoint/2010/main" val="345632842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AB401A-631D-E947-9CB8-7F7A3DBDEBA3}"/>
              </a:ext>
            </a:extLst>
          </p:cNvPr>
          <p:cNvSpPr>
            <a:spLocks noGrp="1"/>
          </p:cNvSpPr>
          <p:nvPr>
            <p:ph type="title"/>
          </p:nvPr>
        </p:nvSpPr>
        <p:spPr>
          <a:xfrm>
            <a:off x="838200" y="880849"/>
            <a:ext cx="10515600" cy="1149351"/>
          </a:xfrm>
        </p:spPr>
        <p:txBody>
          <a:bodyPr>
            <a:normAutofit fontScale="90000"/>
          </a:bodyPr>
          <a:lstStyle/>
          <a:p>
            <a:r>
              <a:rPr lang="en-US" altLang="en-US" sz="4000" b="1" dirty="0">
                <a:effectLst>
                  <a:outerShdw blurRad="38100" dist="38100" dir="2700000" algn="tl">
                    <a:srgbClr val="000000">
                      <a:alpha val="43137"/>
                    </a:srgbClr>
                  </a:outerShdw>
                </a:effectLst>
                <a:latin typeface="+mn-lt"/>
              </a:rPr>
              <a:t>Shortened Quarantine Period After Exposure</a:t>
            </a:r>
            <a:br>
              <a:rPr lang="en-US" altLang="en-US" b="1" dirty="0">
                <a:solidFill>
                  <a:prstClr val="white"/>
                </a:solidFill>
                <a:effectLst>
                  <a:outerShdw blurRad="38100" dist="38100" dir="2700000" algn="tl">
                    <a:srgbClr val="000000">
                      <a:alpha val="43137"/>
                    </a:srgbClr>
                  </a:outerShdw>
                </a:effectLst>
                <a:latin typeface="Open Sans"/>
              </a:rPr>
            </a:br>
            <a:endParaRPr lang="en-US" dirty="0">
              <a:latin typeface="+mn-lt"/>
            </a:endParaRPr>
          </a:p>
        </p:txBody>
      </p:sp>
      <p:sp>
        <p:nvSpPr>
          <p:cNvPr id="4" name="Text Placeholder 1">
            <a:extLst>
              <a:ext uri="{FF2B5EF4-FFF2-40B4-BE49-F238E27FC236}">
                <a16:creationId xmlns:a16="http://schemas.microsoft.com/office/drawing/2014/main" id="{5F2A9635-0ED8-0D43-8127-3F72F4B2D75E}"/>
              </a:ext>
            </a:extLst>
          </p:cNvPr>
          <p:cNvSpPr txBox="1">
            <a:spLocks/>
          </p:cNvSpPr>
          <p:nvPr/>
        </p:nvSpPr>
        <p:spPr>
          <a:xfrm>
            <a:off x="285750" y="1219200"/>
            <a:ext cx="11620500" cy="5257800"/>
          </a:xfrm>
          <a:prstGeom prst="rect">
            <a:avLst/>
          </a:prstGeom>
        </p:spPr>
        <p:txBody>
          <a:bodyPr vert="horz" lIns="91440" tIns="45720" rIns="91440" bIns="45720" rtlCol="0" anchor="ctr"/>
          <a:lstStyle>
            <a:defPPr>
              <a:defRPr lang="en-US"/>
            </a:defPPr>
            <a:lvl1pPr marL="0" algn="l" defTabSz="1219170" rtl="0" eaLnBrk="1" latinLnBrk="0" hangingPunct="1">
              <a:defRPr sz="12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1" indent="0" algn="l" defTabSz="1219170" rtl="0" eaLnBrk="1" fontAlgn="auto" latinLnBrk="0" hangingPunct="1">
              <a:lnSpc>
                <a:spcPct val="100000"/>
              </a:lnSpc>
              <a:spcBef>
                <a:spcPts val="1000"/>
              </a:spcBef>
              <a:spcAft>
                <a:spcPts val="0"/>
              </a:spcAft>
              <a:buClrTx/>
              <a:buSzTx/>
              <a:buFontTx/>
              <a:buNone/>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Shortened Quarantine Guidance</a:t>
            </a:r>
          </a:p>
          <a:p>
            <a:pPr marL="609585"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284C"/>
                </a:solidFill>
                <a:effectLst/>
                <a:uLnTx/>
                <a:uFillTx/>
                <a:latin typeface="Open Sans Light"/>
                <a:ea typeface="+mn-ea"/>
                <a:cs typeface="+mn-cs"/>
              </a:rPr>
              <a:t>Quarantine </a:t>
            </a:r>
            <a:r>
              <a:rPr kumimoji="0" lang="en-US" sz="1800" b="1" i="0" u="none" strike="noStrike" kern="1200" cap="none" spc="0" normalizeH="0" baseline="0" noProof="0" dirty="0">
                <a:ln>
                  <a:noFill/>
                </a:ln>
                <a:solidFill>
                  <a:srgbClr val="12284C"/>
                </a:solidFill>
                <a:effectLst/>
                <a:uLnTx/>
                <a:uFillTx/>
                <a:latin typeface="Open Sans Light"/>
                <a:ea typeface="+mn-ea"/>
                <a:cs typeface="+mn-cs"/>
              </a:rPr>
              <a:t>with</a:t>
            </a:r>
            <a:r>
              <a:rPr kumimoji="0" lang="en-US" sz="1800" b="0" i="0" u="none" strike="noStrike" kern="1200" cap="none" spc="0" normalizeH="0" baseline="0" noProof="0" dirty="0">
                <a:ln>
                  <a:noFill/>
                </a:ln>
                <a:solidFill>
                  <a:srgbClr val="12284C"/>
                </a:solidFill>
                <a:effectLst/>
                <a:uLnTx/>
                <a:uFillTx/>
                <a:latin typeface="Open Sans Light"/>
                <a:ea typeface="+mn-ea"/>
                <a:cs typeface="+mn-cs"/>
              </a:rPr>
              <a:t> testing </a:t>
            </a:r>
          </a:p>
          <a:p>
            <a:pPr marL="1219170" marR="0" lvl="2"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284C"/>
                </a:solidFill>
                <a:effectLst/>
                <a:uLnTx/>
                <a:uFillTx/>
                <a:latin typeface="Open Sans Light"/>
                <a:ea typeface="+mn-ea"/>
                <a:cs typeface="+mn-cs"/>
              </a:rPr>
              <a:t>After exposure, monitored daily (self monitoring or active monitoring by Public Health) for 7 full days. Are only eligible for shortened quarantine if you have no symptoms. </a:t>
            </a:r>
          </a:p>
          <a:p>
            <a:pPr marL="1219170" marR="0" lvl="2"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284C"/>
                </a:solidFill>
                <a:effectLst/>
                <a:uLnTx/>
                <a:uFillTx/>
                <a:latin typeface="Open Sans Light"/>
                <a:ea typeface="+mn-ea"/>
                <a:cs typeface="+mn-cs"/>
              </a:rPr>
              <a:t>On Day 6, may get a PCR test (antigen and antibody tests are NOT allowed for this purpose) – if negative can be removed from quarantine after seven full days, which would be on Day 8. </a:t>
            </a:r>
          </a:p>
          <a:p>
            <a:pPr marL="1219170" marR="0" lvl="2"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284C"/>
                </a:solidFill>
                <a:effectLst/>
                <a:uLnTx/>
                <a:uFillTx/>
                <a:latin typeface="Open Sans Light"/>
                <a:ea typeface="+mn-ea"/>
                <a:cs typeface="+mn-cs"/>
              </a:rPr>
              <a:t>Must remain asymptomatic (no symptoms) </a:t>
            </a:r>
          </a:p>
          <a:p>
            <a:pPr marL="1219170" marR="0" lvl="2"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Light"/>
              <a:ea typeface="+mn-ea"/>
              <a:cs typeface="+mn-cs"/>
            </a:endParaRPr>
          </a:p>
          <a:p>
            <a:pPr marL="609585"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284C"/>
                </a:solidFill>
                <a:effectLst/>
                <a:uLnTx/>
                <a:uFillTx/>
                <a:latin typeface="Open Sans Light"/>
                <a:ea typeface="+mn-ea"/>
                <a:cs typeface="+mn-cs"/>
              </a:rPr>
              <a:t>Quarantine </a:t>
            </a:r>
            <a:r>
              <a:rPr kumimoji="0" lang="en-US" sz="1800" b="1" i="0" u="none" strike="noStrike" kern="1200" cap="none" spc="0" normalizeH="0" baseline="0" noProof="0" dirty="0">
                <a:ln>
                  <a:noFill/>
                </a:ln>
                <a:solidFill>
                  <a:srgbClr val="12284C"/>
                </a:solidFill>
                <a:effectLst/>
                <a:uLnTx/>
                <a:uFillTx/>
                <a:latin typeface="Open Sans Light"/>
                <a:ea typeface="+mn-ea"/>
                <a:cs typeface="+mn-cs"/>
              </a:rPr>
              <a:t>without</a:t>
            </a:r>
            <a:r>
              <a:rPr kumimoji="0" lang="en-US" sz="1800" b="0" i="0" u="none" strike="noStrike" kern="1200" cap="none" spc="0" normalizeH="0" baseline="0" noProof="0" dirty="0">
                <a:ln>
                  <a:noFill/>
                </a:ln>
                <a:solidFill>
                  <a:srgbClr val="12284C"/>
                </a:solidFill>
                <a:effectLst/>
                <a:uLnTx/>
                <a:uFillTx/>
                <a:latin typeface="Open Sans Light"/>
                <a:ea typeface="+mn-ea"/>
                <a:cs typeface="+mn-cs"/>
              </a:rPr>
              <a:t> testing </a:t>
            </a:r>
          </a:p>
          <a:p>
            <a:pPr marL="1219170" marR="0" lvl="2"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284C"/>
                </a:solidFill>
                <a:effectLst/>
                <a:uLnTx/>
                <a:uFillTx/>
                <a:latin typeface="Open Sans Light"/>
                <a:ea typeface="+mn-ea"/>
                <a:cs typeface="+mn-cs"/>
              </a:rPr>
              <a:t>After exposure, monitored daily (self monitoring or active monitoring) daily for 10 full days. Are only eligible for shortened quarantine if you have no symptoms. </a:t>
            </a:r>
          </a:p>
          <a:p>
            <a:pPr marL="1219170" marR="0" lvl="2"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284C"/>
                </a:solidFill>
                <a:effectLst/>
                <a:uLnTx/>
                <a:uFillTx/>
                <a:latin typeface="Open Sans Light"/>
                <a:ea typeface="+mn-ea"/>
                <a:cs typeface="+mn-cs"/>
              </a:rPr>
              <a:t>After day 10, which would be Day 11, can be released from quarantine without a test.</a:t>
            </a:r>
          </a:p>
          <a:p>
            <a:pPr marL="1219170" marR="0" lvl="2"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284C"/>
                </a:solidFill>
                <a:effectLst/>
                <a:uLnTx/>
                <a:uFillTx/>
                <a:latin typeface="Open Sans Light"/>
                <a:ea typeface="+mn-ea"/>
                <a:cs typeface="+mn-cs"/>
              </a:rPr>
              <a:t>Must remain asymptomatic (no symptoms)</a:t>
            </a:r>
          </a:p>
          <a:p>
            <a:pPr marL="609585" marR="0" lvl="1"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Light"/>
              <a:ea typeface="+mn-ea"/>
              <a:cs typeface="+mn-cs"/>
            </a:endParaRPr>
          </a:p>
          <a:p>
            <a:pPr marL="609585" marR="0" lvl="1"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284C"/>
                </a:solidFill>
                <a:effectLst/>
                <a:uLnTx/>
                <a:uFillTx/>
                <a:latin typeface="Open Sans Light"/>
                <a:ea typeface="+mn-ea"/>
                <a:cs typeface="+mn-cs"/>
              </a:rPr>
              <a:t>All exposed people should self-monitor for the remaining of the </a:t>
            </a:r>
            <a:r>
              <a:rPr kumimoji="0" lang="en-US" sz="1800" b="1" i="0" u="none" strike="noStrike" kern="1200" cap="none" spc="0" normalizeH="0" baseline="0" noProof="0" dirty="0">
                <a:ln>
                  <a:noFill/>
                </a:ln>
                <a:solidFill>
                  <a:srgbClr val="12284C"/>
                </a:solidFill>
                <a:effectLst/>
                <a:uLnTx/>
                <a:uFillTx/>
                <a:latin typeface="Open Sans Light"/>
                <a:ea typeface="+mn-ea"/>
                <a:cs typeface="+mn-cs"/>
              </a:rPr>
              <a:t>fourteen (14) </a:t>
            </a:r>
            <a:r>
              <a:rPr kumimoji="0" lang="en-US" sz="1800" b="0" i="0" u="none" strike="noStrike" kern="1200" cap="none" spc="0" normalizeH="0" baseline="0" noProof="0" dirty="0">
                <a:ln>
                  <a:noFill/>
                </a:ln>
                <a:solidFill>
                  <a:srgbClr val="12284C"/>
                </a:solidFill>
                <a:effectLst/>
                <a:uLnTx/>
                <a:uFillTx/>
                <a:latin typeface="Open Sans Light"/>
                <a:ea typeface="+mn-ea"/>
                <a:cs typeface="+mn-cs"/>
              </a:rPr>
              <a:t>days from exposure and contact healthcare provider if symptoms develop. Disease can still develop through day 14. </a:t>
            </a:r>
          </a:p>
        </p:txBody>
      </p:sp>
    </p:spTree>
    <p:extLst>
      <p:ext uri="{BB962C8B-B14F-4D97-AF65-F5344CB8AC3E}">
        <p14:creationId xmlns:p14="http://schemas.microsoft.com/office/powerpoint/2010/main" val="324528780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AB401A-631D-E947-9CB8-7F7A3DBDEBA3}"/>
              </a:ext>
            </a:extLst>
          </p:cNvPr>
          <p:cNvSpPr>
            <a:spLocks noGrp="1"/>
          </p:cNvSpPr>
          <p:nvPr>
            <p:ph type="title"/>
          </p:nvPr>
        </p:nvSpPr>
        <p:spPr>
          <a:xfrm>
            <a:off x="838200" y="685800"/>
            <a:ext cx="10515600" cy="1149351"/>
          </a:xfrm>
        </p:spPr>
        <p:txBody>
          <a:bodyPr>
            <a:normAutofit/>
          </a:bodyPr>
          <a:lstStyle/>
          <a:p>
            <a:r>
              <a:rPr lang="en-US" sz="2600" b="1" dirty="0">
                <a:latin typeface="+mn-lt"/>
              </a:rPr>
              <a:t>Key guidelines &amp; precautions to enable MS/HS to safely re-open</a:t>
            </a:r>
          </a:p>
        </p:txBody>
      </p:sp>
      <p:sp>
        <p:nvSpPr>
          <p:cNvPr id="4" name="TextBox 3">
            <a:extLst>
              <a:ext uri="{FF2B5EF4-FFF2-40B4-BE49-F238E27FC236}">
                <a16:creationId xmlns:a16="http://schemas.microsoft.com/office/drawing/2014/main" id="{BC4DC0DF-248E-5040-98E6-DFA639782599}"/>
              </a:ext>
            </a:extLst>
          </p:cNvPr>
          <p:cNvSpPr txBox="1"/>
          <p:nvPr/>
        </p:nvSpPr>
        <p:spPr>
          <a:xfrm>
            <a:off x="1058255" y="2790455"/>
            <a:ext cx="2180961" cy="38779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B7E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284C"/>
                </a:solidFill>
                <a:effectLst/>
                <a:uLnTx/>
                <a:uFillTx/>
                <a:latin typeface="Open Sans Light"/>
                <a:ea typeface="+mn-ea"/>
                <a:cs typeface="+mn-cs"/>
              </a:rPr>
              <a:t>Testing protocols</a:t>
            </a:r>
          </a:p>
        </p:txBody>
      </p:sp>
      <p:sp>
        <p:nvSpPr>
          <p:cNvPr id="5" name="TextBox 4">
            <a:extLst>
              <a:ext uri="{FF2B5EF4-FFF2-40B4-BE49-F238E27FC236}">
                <a16:creationId xmlns:a16="http://schemas.microsoft.com/office/drawing/2014/main" id="{17FCCFF5-D626-C644-9E4A-D191665449FC}"/>
              </a:ext>
            </a:extLst>
          </p:cNvPr>
          <p:cNvSpPr txBox="1"/>
          <p:nvPr/>
        </p:nvSpPr>
        <p:spPr>
          <a:xfrm>
            <a:off x="444156" y="3132595"/>
            <a:ext cx="3409160" cy="77559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B7E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284C"/>
                </a:solidFill>
                <a:effectLst/>
                <a:uLnTx/>
                <a:uFillTx/>
                <a:latin typeface="Open Sans Light"/>
                <a:ea typeface="+mn-ea"/>
                <a:cs typeface="+mn-cs"/>
              </a:rPr>
              <a:t>New Guidance on key groups and scenarios for testing – includes frequency, target populations, and minimum adherence </a:t>
            </a:r>
          </a:p>
        </p:txBody>
      </p:sp>
      <p:grpSp>
        <p:nvGrpSpPr>
          <p:cNvPr id="6" name="Group 5">
            <a:extLst>
              <a:ext uri="{FF2B5EF4-FFF2-40B4-BE49-F238E27FC236}">
                <a16:creationId xmlns:a16="http://schemas.microsoft.com/office/drawing/2014/main" id="{285C0200-74B0-8746-8557-8BAD74917206}"/>
              </a:ext>
            </a:extLst>
          </p:cNvPr>
          <p:cNvGrpSpPr/>
          <p:nvPr/>
        </p:nvGrpSpPr>
        <p:grpSpPr>
          <a:xfrm>
            <a:off x="1585986" y="1600200"/>
            <a:ext cx="1125499" cy="1125499"/>
            <a:chOff x="1315779" y="1954542"/>
            <a:chExt cx="1125499" cy="1125499"/>
          </a:xfrm>
        </p:grpSpPr>
        <p:grpSp>
          <p:nvGrpSpPr>
            <p:cNvPr id="7" name="Group 6">
              <a:extLst>
                <a:ext uri="{FF2B5EF4-FFF2-40B4-BE49-F238E27FC236}">
                  <a16:creationId xmlns:a16="http://schemas.microsoft.com/office/drawing/2014/main" id="{62EA3A7A-B89E-BD47-9634-EDF7ED3E2823}"/>
                </a:ext>
              </a:extLst>
            </p:cNvPr>
            <p:cNvGrpSpPr>
              <a:grpSpLocks noChangeAspect="1"/>
            </p:cNvGrpSpPr>
            <p:nvPr/>
          </p:nvGrpSpPr>
          <p:grpSpPr>
            <a:xfrm>
              <a:off x="1456611" y="2095374"/>
              <a:ext cx="843835" cy="843835"/>
              <a:chOff x="1983582" y="2081213"/>
              <a:chExt cx="1647825" cy="1647825"/>
            </a:xfrm>
          </p:grpSpPr>
          <p:sp>
            <p:nvSpPr>
              <p:cNvPr id="9" name="AutoShape 48">
                <a:extLst>
                  <a:ext uri="{FF2B5EF4-FFF2-40B4-BE49-F238E27FC236}">
                    <a16:creationId xmlns:a16="http://schemas.microsoft.com/office/drawing/2014/main" id="{9AF7082E-DA38-6946-A459-FD94F49ADF9F}"/>
                  </a:ext>
                </a:extLst>
              </p:cNvPr>
              <p:cNvSpPr>
                <a:spLocks noChangeAspect="1" noChangeArrowheads="1" noTextEdit="1"/>
              </p:cNvSpPr>
              <p:nvPr/>
            </p:nvSpPr>
            <p:spPr bwMode="auto">
              <a:xfrm>
                <a:off x="1983582" y="2081213"/>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grpSp>
            <p:nvGrpSpPr>
              <p:cNvPr id="10" name="Group 9">
                <a:extLst>
                  <a:ext uri="{FF2B5EF4-FFF2-40B4-BE49-F238E27FC236}">
                    <a16:creationId xmlns:a16="http://schemas.microsoft.com/office/drawing/2014/main" id="{69D18E92-5FEB-0D4F-BB00-61ABEF5A6CE7}"/>
                  </a:ext>
                </a:extLst>
              </p:cNvPr>
              <p:cNvGrpSpPr/>
              <p:nvPr/>
            </p:nvGrpSpPr>
            <p:grpSpPr>
              <a:xfrm>
                <a:off x="2523672" y="2254814"/>
                <a:ext cx="567645" cy="1300624"/>
                <a:chOff x="2523672" y="2254814"/>
                <a:chExt cx="567645" cy="1300624"/>
              </a:xfrm>
            </p:grpSpPr>
            <p:sp>
              <p:nvSpPr>
                <p:cNvPr id="11" name="Freeform 50">
                  <a:extLst>
                    <a:ext uri="{FF2B5EF4-FFF2-40B4-BE49-F238E27FC236}">
                      <a16:creationId xmlns:a16="http://schemas.microsoft.com/office/drawing/2014/main" id="{A8661D9D-C651-1940-99DD-79C248B9B83A}"/>
                    </a:ext>
                  </a:extLst>
                </p:cNvPr>
                <p:cNvSpPr>
                  <a:spLocks noEditPoints="1"/>
                </p:cNvSpPr>
                <p:nvPr/>
              </p:nvSpPr>
              <p:spPr bwMode="auto">
                <a:xfrm>
                  <a:off x="2523672" y="2254814"/>
                  <a:ext cx="567645" cy="1300624"/>
                </a:xfrm>
                <a:custGeom>
                  <a:avLst/>
                  <a:gdLst>
                    <a:gd name="T0" fmla="*/ 689 w 792"/>
                    <a:gd name="T1" fmla="*/ 0 h 1820"/>
                    <a:gd name="T2" fmla="*/ 103 w 792"/>
                    <a:gd name="T3" fmla="*/ 0 h 1820"/>
                    <a:gd name="T4" fmla="*/ 0 w 792"/>
                    <a:gd name="T5" fmla="*/ 103 h 1820"/>
                    <a:gd name="T6" fmla="*/ 103 w 792"/>
                    <a:gd name="T7" fmla="*/ 206 h 1820"/>
                    <a:gd name="T8" fmla="*/ 106 w 792"/>
                    <a:gd name="T9" fmla="*/ 206 h 1820"/>
                    <a:gd name="T10" fmla="*/ 106 w 792"/>
                    <a:gd name="T11" fmla="*/ 1529 h 1820"/>
                    <a:gd name="T12" fmla="*/ 396 w 792"/>
                    <a:gd name="T13" fmla="*/ 1820 h 1820"/>
                    <a:gd name="T14" fmla="*/ 686 w 792"/>
                    <a:gd name="T15" fmla="*/ 1529 h 1820"/>
                    <a:gd name="T16" fmla="*/ 686 w 792"/>
                    <a:gd name="T17" fmla="*/ 206 h 1820"/>
                    <a:gd name="T18" fmla="*/ 689 w 792"/>
                    <a:gd name="T19" fmla="*/ 206 h 1820"/>
                    <a:gd name="T20" fmla="*/ 792 w 792"/>
                    <a:gd name="T21" fmla="*/ 103 h 1820"/>
                    <a:gd name="T22" fmla="*/ 689 w 792"/>
                    <a:gd name="T23" fmla="*/ 0 h 1820"/>
                    <a:gd name="T24" fmla="*/ 689 w 792"/>
                    <a:gd name="T25" fmla="*/ 163 h 1820"/>
                    <a:gd name="T26" fmla="*/ 643 w 792"/>
                    <a:gd name="T27" fmla="*/ 163 h 1820"/>
                    <a:gd name="T28" fmla="*/ 643 w 792"/>
                    <a:gd name="T29" fmla="*/ 1529 h 1820"/>
                    <a:gd name="T30" fmla="*/ 396 w 792"/>
                    <a:gd name="T31" fmla="*/ 1776 h 1820"/>
                    <a:gd name="T32" fmla="*/ 396 w 792"/>
                    <a:gd name="T33" fmla="*/ 1776 h 1820"/>
                    <a:gd name="T34" fmla="*/ 149 w 792"/>
                    <a:gd name="T35" fmla="*/ 1529 h 1820"/>
                    <a:gd name="T36" fmla="*/ 149 w 792"/>
                    <a:gd name="T37" fmla="*/ 163 h 1820"/>
                    <a:gd name="T38" fmla="*/ 103 w 792"/>
                    <a:gd name="T39" fmla="*/ 163 h 1820"/>
                    <a:gd name="T40" fmla="*/ 44 w 792"/>
                    <a:gd name="T41" fmla="*/ 103 h 1820"/>
                    <a:gd name="T42" fmla="*/ 103 w 792"/>
                    <a:gd name="T43" fmla="*/ 44 h 1820"/>
                    <a:gd name="T44" fmla="*/ 689 w 792"/>
                    <a:gd name="T45" fmla="*/ 44 h 1820"/>
                    <a:gd name="T46" fmla="*/ 748 w 792"/>
                    <a:gd name="T47" fmla="*/ 103 h 1820"/>
                    <a:gd name="T48" fmla="*/ 689 w 792"/>
                    <a:gd name="T49" fmla="*/ 163 h 1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2" h="1820">
                      <a:moveTo>
                        <a:pt x="689" y="0"/>
                      </a:moveTo>
                      <a:cubicBezTo>
                        <a:pt x="103" y="0"/>
                        <a:pt x="103" y="0"/>
                        <a:pt x="103" y="0"/>
                      </a:cubicBezTo>
                      <a:cubicBezTo>
                        <a:pt x="47" y="0"/>
                        <a:pt x="0" y="47"/>
                        <a:pt x="0" y="103"/>
                      </a:cubicBezTo>
                      <a:cubicBezTo>
                        <a:pt x="0" y="161"/>
                        <a:pt x="47" y="206"/>
                        <a:pt x="103" y="206"/>
                      </a:cubicBezTo>
                      <a:cubicBezTo>
                        <a:pt x="106" y="206"/>
                        <a:pt x="106" y="206"/>
                        <a:pt x="106" y="206"/>
                      </a:cubicBezTo>
                      <a:cubicBezTo>
                        <a:pt x="106" y="1529"/>
                        <a:pt x="106" y="1529"/>
                        <a:pt x="106" y="1529"/>
                      </a:cubicBezTo>
                      <a:cubicBezTo>
                        <a:pt x="106" y="1689"/>
                        <a:pt x="236" y="1820"/>
                        <a:pt x="396" y="1820"/>
                      </a:cubicBezTo>
                      <a:cubicBezTo>
                        <a:pt x="556" y="1820"/>
                        <a:pt x="686" y="1689"/>
                        <a:pt x="686" y="1529"/>
                      </a:cubicBezTo>
                      <a:cubicBezTo>
                        <a:pt x="686" y="206"/>
                        <a:pt x="686" y="206"/>
                        <a:pt x="686" y="206"/>
                      </a:cubicBezTo>
                      <a:cubicBezTo>
                        <a:pt x="689" y="206"/>
                        <a:pt x="689" y="206"/>
                        <a:pt x="689" y="206"/>
                      </a:cubicBezTo>
                      <a:cubicBezTo>
                        <a:pt x="745" y="206"/>
                        <a:pt x="792" y="161"/>
                        <a:pt x="792" y="103"/>
                      </a:cubicBezTo>
                      <a:cubicBezTo>
                        <a:pt x="792" y="47"/>
                        <a:pt x="745" y="0"/>
                        <a:pt x="689" y="0"/>
                      </a:cubicBezTo>
                      <a:close/>
                      <a:moveTo>
                        <a:pt x="689" y="163"/>
                      </a:moveTo>
                      <a:cubicBezTo>
                        <a:pt x="643" y="163"/>
                        <a:pt x="643" y="163"/>
                        <a:pt x="643" y="163"/>
                      </a:cubicBezTo>
                      <a:cubicBezTo>
                        <a:pt x="643" y="1529"/>
                        <a:pt x="643" y="1529"/>
                        <a:pt x="643" y="1529"/>
                      </a:cubicBezTo>
                      <a:cubicBezTo>
                        <a:pt x="643" y="1665"/>
                        <a:pt x="533" y="1776"/>
                        <a:pt x="396" y="1776"/>
                      </a:cubicBezTo>
                      <a:cubicBezTo>
                        <a:pt x="396" y="1776"/>
                        <a:pt x="396" y="1776"/>
                        <a:pt x="396" y="1776"/>
                      </a:cubicBezTo>
                      <a:cubicBezTo>
                        <a:pt x="259" y="1776"/>
                        <a:pt x="149" y="1665"/>
                        <a:pt x="149" y="1529"/>
                      </a:cubicBezTo>
                      <a:cubicBezTo>
                        <a:pt x="149" y="163"/>
                        <a:pt x="149" y="163"/>
                        <a:pt x="149" y="163"/>
                      </a:cubicBezTo>
                      <a:cubicBezTo>
                        <a:pt x="103" y="163"/>
                        <a:pt x="103" y="163"/>
                        <a:pt x="103" y="163"/>
                      </a:cubicBezTo>
                      <a:cubicBezTo>
                        <a:pt x="70" y="163"/>
                        <a:pt x="44" y="136"/>
                        <a:pt x="44" y="103"/>
                      </a:cubicBezTo>
                      <a:cubicBezTo>
                        <a:pt x="44" y="70"/>
                        <a:pt x="70" y="44"/>
                        <a:pt x="103" y="44"/>
                      </a:cubicBezTo>
                      <a:cubicBezTo>
                        <a:pt x="689" y="44"/>
                        <a:pt x="689" y="44"/>
                        <a:pt x="689" y="44"/>
                      </a:cubicBezTo>
                      <a:cubicBezTo>
                        <a:pt x="722" y="44"/>
                        <a:pt x="748" y="70"/>
                        <a:pt x="748" y="103"/>
                      </a:cubicBezTo>
                      <a:cubicBezTo>
                        <a:pt x="748" y="136"/>
                        <a:pt x="722" y="163"/>
                        <a:pt x="689" y="163"/>
                      </a:cubicBezTo>
                      <a:close/>
                    </a:path>
                  </a:pathLst>
                </a:custGeom>
                <a:solidFill>
                  <a:srgbClr val="05193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sp>
              <p:nvSpPr>
                <p:cNvPr id="12" name="Freeform 51">
                  <a:extLst>
                    <a:ext uri="{FF2B5EF4-FFF2-40B4-BE49-F238E27FC236}">
                      <a16:creationId xmlns:a16="http://schemas.microsoft.com/office/drawing/2014/main" id="{996E7FB3-168F-BE45-A58F-14B9B3B0811B}"/>
                    </a:ext>
                  </a:extLst>
                </p:cNvPr>
                <p:cNvSpPr>
                  <a:spLocks noEditPoints="1"/>
                </p:cNvSpPr>
                <p:nvPr/>
              </p:nvSpPr>
              <p:spPr bwMode="auto">
                <a:xfrm>
                  <a:off x="2664206" y="2905126"/>
                  <a:ext cx="286578" cy="589690"/>
                </a:xfrm>
                <a:custGeom>
                  <a:avLst/>
                  <a:gdLst>
                    <a:gd name="T0" fmla="*/ 0 w 404"/>
                    <a:gd name="T1" fmla="*/ 0 h 823"/>
                    <a:gd name="T2" fmla="*/ 0 w 404"/>
                    <a:gd name="T3" fmla="*/ 619 h 823"/>
                    <a:gd name="T4" fmla="*/ 202 w 404"/>
                    <a:gd name="T5" fmla="*/ 823 h 823"/>
                    <a:gd name="T6" fmla="*/ 404 w 404"/>
                    <a:gd name="T7" fmla="*/ 619 h 823"/>
                    <a:gd name="T8" fmla="*/ 404 w 404"/>
                    <a:gd name="T9" fmla="*/ 0 h 823"/>
                    <a:gd name="T10" fmla="*/ 0 w 404"/>
                    <a:gd name="T11" fmla="*/ 0 h 823"/>
                    <a:gd name="T12" fmla="*/ 0 w 404"/>
                    <a:gd name="T13" fmla="*/ 0 h 823"/>
                    <a:gd name="T14" fmla="*/ 292 w 404"/>
                    <a:gd name="T15" fmla="*/ 156 h 823"/>
                    <a:gd name="T16" fmla="*/ 323 w 404"/>
                    <a:gd name="T17" fmla="*/ 188 h 823"/>
                    <a:gd name="T18" fmla="*/ 292 w 404"/>
                    <a:gd name="T19" fmla="*/ 219 h 823"/>
                    <a:gd name="T20" fmla="*/ 260 w 404"/>
                    <a:gd name="T21" fmla="*/ 188 h 823"/>
                    <a:gd name="T22" fmla="*/ 292 w 404"/>
                    <a:gd name="T23" fmla="*/ 156 h 823"/>
                    <a:gd name="T24" fmla="*/ 134 w 404"/>
                    <a:gd name="T25" fmla="*/ 705 h 823"/>
                    <a:gd name="T26" fmla="*/ 64 w 404"/>
                    <a:gd name="T27" fmla="*/ 634 h 823"/>
                    <a:gd name="T28" fmla="*/ 134 w 404"/>
                    <a:gd name="T29" fmla="*/ 564 h 823"/>
                    <a:gd name="T30" fmla="*/ 204 w 404"/>
                    <a:gd name="T31" fmla="*/ 634 h 823"/>
                    <a:gd name="T32" fmla="*/ 134 w 404"/>
                    <a:gd name="T33" fmla="*/ 705 h 823"/>
                    <a:gd name="T34" fmla="*/ 181 w 404"/>
                    <a:gd name="T35" fmla="*/ 286 h 823"/>
                    <a:gd name="T36" fmla="*/ 221 w 404"/>
                    <a:gd name="T37" fmla="*/ 246 h 823"/>
                    <a:gd name="T38" fmla="*/ 260 w 404"/>
                    <a:gd name="T39" fmla="*/ 286 h 823"/>
                    <a:gd name="T40" fmla="*/ 221 w 404"/>
                    <a:gd name="T41" fmla="*/ 325 h 823"/>
                    <a:gd name="T42" fmla="*/ 181 w 404"/>
                    <a:gd name="T43" fmla="*/ 286 h 823"/>
                    <a:gd name="T44" fmla="*/ 304 w 404"/>
                    <a:gd name="T45" fmla="*/ 698 h 823"/>
                    <a:gd name="T46" fmla="*/ 270 w 404"/>
                    <a:gd name="T47" fmla="*/ 664 h 823"/>
                    <a:gd name="T48" fmla="*/ 304 w 404"/>
                    <a:gd name="T49" fmla="*/ 630 h 823"/>
                    <a:gd name="T50" fmla="*/ 337 w 404"/>
                    <a:gd name="T51" fmla="*/ 664 h 823"/>
                    <a:gd name="T52" fmla="*/ 304 w 404"/>
                    <a:gd name="T53" fmla="*/ 698 h 823"/>
                    <a:gd name="T54" fmla="*/ 287 w 404"/>
                    <a:gd name="T55" fmla="*/ 524 h 823"/>
                    <a:gd name="T56" fmla="*/ 232 w 404"/>
                    <a:gd name="T57" fmla="*/ 469 h 823"/>
                    <a:gd name="T58" fmla="*/ 287 w 404"/>
                    <a:gd name="T59" fmla="*/ 413 h 823"/>
                    <a:gd name="T60" fmla="*/ 342 w 404"/>
                    <a:gd name="T61" fmla="*/ 469 h 823"/>
                    <a:gd name="T62" fmla="*/ 287 w 404"/>
                    <a:gd name="T63" fmla="*/ 524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4" h="823">
                      <a:moveTo>
                        <a:pt x="0" y="0"/>
                      </a:moveTo>
                      <a:cubicBezTo>
                        <a:pt x="0" y="619"/>
                        <a:pt x="0" y="619"/>
                        <a:pt x="0" y="619"/>
                      </a:cubicBezTo>
                      <a:cubicBezTo>
                        <a:pt x="0" y="732"/>
                        <a:pt x="90" y="823"/>
                        <a:pt x="202" y="823"/>
                      </a:cubicBezTo>
                      <a:cubicBezTo>
                        <a:pt x="314" y="823"/>
                        <a:pt x="404" y="732"/>
                        <a:pt x="404" y="619"/>
                      </a:cubicBezTo>
                      <a:cubicBezTo>
                        <a:pt x="404" y="0"/>
                        <a:pt x="404" y="0"/>
                        <a:pt x="404" y="0"/>
                      </a:cubicBezTo>
                      <a:cubicBezTo>
                        <a:pt x="0" y="0"/>
                        <a:pt x="0" y="0"/>
                        <a:pt x="0" y="0"/>
                      </a:cubicBezTo>
                      <a:cubicBezTo>
                        <a:pt x="0" y="0"/>
                        <a:pt x="0" y="0"/>
                        <a:pt x="0" y="0"/>
                      </a:cubicBezTo>
                      <a:close/>
                      <a:moveTo>
                        <a:pt x="292" y="156"/>
                      </a:moveTo>
                      <a:cubicBezTo>
                        <a:pt x="310" y="156"/>
                        <a:pt x="323" y="170"/>
                        <a:pt x="323" y="188"/>
                      </a:cubicBezTo>
                      <a:cubicBezTo>
                        <a:pt x="323" y="205"/>
                        <a:pt x="310" y="219"/>
                        <a:pt x="292" y="219"/>
                      </a:cubicBezTo>
                      <a:cubicBezTo>
                        <a:pt x="274" y="219"/>
                        <a:pt x="260" y="205"/>
                        <a:pt x="260" y="188"/>
                      </a:cubicBezTo>
                      <a:cubicBezTo>
                        <a:pt x="260" y="170"/>
                        <a:pt x="274" y="156"/>
                        <a:pt x="292" y="156"/>
                      </a:cubicBezTo>
                      <a:close/>
                      <a:moveTo>
                        <a:pt x="134" y="705"/>
                      </a:moveTo>
                      <a:cubicBezTo>
                        <a:pt x="95" y="705"/>
                        <a:pt x="64" y="673"/>
                        <a:pt x="64" y="634"/>
                      </a:cubicBezTo>
                      <a:cubicBezTo>
                        <a:pt x="64" y="596"/>
                        <a:pt x="95" y="564"/>
                        <a:pt x="134" y="564"/>
                      </a:cubicBezTo>
                      <a:cubicBezTo>
                        <a:pt x="172" y="564"/>
                        <a:pt x="204" y="596"/>
                        <a:pt x="204" y="634"/>
                      </a:cubicBezTo>
                      <a:cubicBezTo>
                        <a:pt x="204" y="673"/>
                        <a:pt x="172" y="705"/>
                        <a:pt x="134" y="705"/>
                      </a:cubicBezTo>
                      <a:close/>
                      <a:moveTo>
                        <a:pt x="181" y="286"/>
                      </a:moveTo>
                      <a:cubicBezTo>
                        <a:pt x="181" y="264"/>
                        <a:pt x="199" y="246"/>
                        <a:pt x="221" y="246"/>
                      </a:cubicBezTo>
                      <a:cubicBezTo>
                        <a:pt x="242" y="246"/>
                        <a:pt x="260" y="264"/>
                        <a:pt x="260" y="286"/>
                      </a:cubicBezTo>
                      <a:cubicBezTo>
                        <a:pt x="260" y="308"/>
                        <a:pt x="242" y="325"/>
                        <a:pt x="221" y="325"/>
                      </a:cubicBezTo>
                      <a:cubicBezTo>
                        <a:pt x="199" y="325"/>
                        <a:pt x="181" y="308"/>
                        <a:pt x="181" y="286"/>
                      </a:cubicBezTo>
                      <a:close/>
                      <a:moveTo>
                        <a:pt x="304" y="698"/>
                      </a:moveTo>
                      <a:cubicBezTo>
                        <a:pt x="285" y="698"/>
                        <a:pt x="270" y="683"/>
                        <a:pt x="270" y="664"/>
                      </a:cubicBezTo>
                      <a:cubicBezTo>
                        <a:pt x="270" y="645"/>
                        <a:pt x="285" y="630"/>
                        <a:pt x="304" y="630"/>
                      </a:cubicBezTo>
                      <a:cubicBezTo>
                        <a:pt x="322" y="630"/>
                        <a:pt x="337" y="645"/>
                        <a:pt x="337" y="664"/>
                      </a:cubicBezTo>
                      <a:cubicBezTo>
                        <a:pt x="337" y="683"/>
                        <a:pt x="322" y="698"/>
                        <a:pt x="304" y="698"/>
                      </a:cubicBezTo>
                      <a:close/>
                      <a:moveTo>
                        <a:pt x="287" y="524"/>
                      </a:moveTo>
                      <a:cubicBezTo>
                        <a:pt x="256" y="524"/>
                        <a:pt x="232" y="499"/>
                        <a:pt x="232" y="469"/>
                      </a:cubicBezTo>
                      <a:cubicBezTo>
                        <a:pt x="232" y="438"/>
                        <a:pt x="256" y="413"/>
                        <a:pt x="287" y="413"/>
                      </a:cubicBezTo>
                      <a:cubicBezTo>
                        <a:pt x="317" y="413"/>
                        <a:pt x="342" y="438"/>
                        <a:pt x="342" y="469"/>
                      </a:cubicBezTo>
                      <a:cubicBezTo>
                        <a:pt x="342" y="499"/>
                        <a:pt x="317" y="524"/>
                        <a:pt x="287" y="524"/>
                      </a:cubicBezTo>
                      <a:close/>
                    </a:path>
                  </a:pathLst>
                </a:custGeom>
                <a:solidFill>
                  <a:srgbClr val="0A37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grpSp>
        </p:grpSp>
        <p:sp>
          <p:nvSpPr>
            <p:cNvPr id="8" name="Oval 7">
              <a:extLst>
                <a:ext uri="{FF2B5EF4-FFF2-40B4-BE49-F238E27FC236}">
                  <a16:creationId xmlns:a16="http://schemas.microsoft.com/office/drawing/2014/main" id="{1BEB6F60-C46B-CC44-8DC1-535CDE2F46BA}"/>
                </a:ext>
              </a:extLst>
            </p:cNvPr>
            <p:cNvSpPr/>
            <p:nvPr/>
          </p:nvSpPr>
          <p:spPr>
            <a:xfrm>
              <a:off x="1315779" y="1954542"/>
              <a:ext cx="1125499" cy="1125499"/>
            </a:xfrm>
            <a:prstGeom prst="ellipse">
              <a:avLst/>
            </a:prstGeom>
            <a:grpFill/>
            <a:ln w="38100" cap="flat" cmpd="sng" algn="ctr">
              <a:gradFill flip="none" rotWithShape="1">
                <a:gsLst>
                  <a:gs pos="0">
                    <a:srgbClr val="051934"/>
                  </a:gs>
                  <a:gs pos="100000">
                    <a:srgbClr val="0A3774"/>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12284C"/>
                </a:solidFill>
                <a:effectLst/>
                <a:uLnTx/>
                <a:uFillTx/>
                <a:latin typeface="Open Sans Light"/>
                <a:ea typeface="+mn-ea"/>
                <a:cs typeface="+mn-cs"/>
              </a:endParaRPr>
            </a:p>
          </p:txBody>
        </p:sp>
      </p:grpSp>
      <p:sp>
        <p:nvSpPr>
          <p:cNvPr id="13" name="TextBox 12">
            <a:extLst>
              <a:ext uri="{FF2B5EF4-FFF2-40B4-BE49-F238E27FC236}">
                <a16:creationId xmlns:a16="http://schemas.microsoft.com/office/drawing/2014/main" id="{14B0031A-9A76-5C40-9E97-2A75D7760212}"/>
              </a:ext>
            </a:extLst>
          </p:cNvPr>
          <p:cNvSpPr txBox="1"/>
          <p:nvPr/>
        </p:nvSpPr>
        <p:spPr>
          <a:xfrm>
            <a:off x="1058256" y="5226703"/>
            <a:ext cx="2180961" cy="38779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B7E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284C"/>
                </a:solidFill>
                <a:effectLst/>
                <a:uLnTx/>
                <a:uFillTx/>
                <a:latin typeface="Open Sans Light"/>
                <a:ea typeface="+mn-ea"/>
                <a:cs typeface="+mn-cs"/>
              </a:rPr>
              <a:t>Social Distancing</a:t>
            </a:r>
          </a:p>
        </p:txBody>
      </p:sp>
      <p:sp>
        <p:nvSpPr>
          <p:cNvPr id="14" name="TextBox 13">
            <a:extLst>
              <a:ext uri="{FF2B5EF4-FFF2-40B4-BE49-F238E27FC236}">
                <a16:creationId xmlns:a16="http://schemas.microsoft.com/office/drawing/2014/main" id="{F17A20B5-D020-3E43-8808-72C76425E492}"/>
              </a:ext>
            </a:extLst>
          </p:cNvPr>
          <p:cNvSpPr txBox="1"/>
          <p:nvPr/>
        </p:nvSpPr>
        <p:spPr>
          <a:xfrm>
            <a:off x="444156" y="5568843"/>
            <a:ext cx="3409160" cy="77559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B7E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284C"/>
                </a:solidFill>
                <a:effectLst/>
                <a:uLnTx/>
                <a:uFillTx/>
                <a:latin typeface="Open Sans Light"/>
                <a:ea typeface="+mn-ea"/>
                <a:cs typeface="+mn-cs"/>
              </a:rPr>
              <a:t>Guidance on how to adapt classroom settings and other school activities to promote safe learning and physical distancing</a:t>
            </a:r>
          </a:p>
        </p:txBody>
      </p:sp>
      <p:grpSp>
        <p:nvGrpSpPr>
          <p:cNvPr id="15" name="Group 14">
            <a:extLst>
              <a:ext uri="{FF2B5EF4-FFF2-40B4-BE49-F238E27FC236}">
                <a16:creationId xmlns:a16="http://schemas.microsoft.com/office/drawing/2014/main" id="{ADCE3B16-49AA-9040-ADE5-A85347300595}"/>
              </a:ext>
            </a:extLst>
          </p:cNvPr>
          <p:cNvGrpSpPr/>
          <p:nvPr/>
        </p:nvGrpSpPr>
        <p:grpSpPr>
          <a:xfrm>
            <a:off x="1585987" y="4039944"/>
            <a:ext cx="1125499" cy="1125499"/>
            <a:chOff x="6757322" y="2118456"/>
            <a:chExt cx="1125499" cy="1125499"/>
          </a:xfrm>
        </p:grpSpPr>
        <p:grpSp>
          <p:nvGrpSpPr>
            <p:cNvPr id="16" name="Group 14">
              <a:extLst>
                <a:ext uri="{FF2B5EF4-FFF2-40B4-BE49-F238E27FC236}">
                  <a16:creationId xmlns:a16="http://schemas.microsoft.com/office/drawing/2014/main" id="{A0D34D78-90D3-CE46-BE54-065F92E93C2C}"/>
                </a:ext>
              </a:extLst>
            </p:cNvPr>
            <p:cNvGrpSpPr>
              <a:grpSpLocks noChangeAspect="1"/>
            </p:cNvGrpSpPr>
            <p:nvPr/>
          </p:nvGrpSpPr>
          <p:grpSpPr bwMode="auto">
            <a:xfrm>
              <a:off x="6898153" y="2258897"/>
              <a:ext cx="843835" cy="844617"/>
              <a:chOff x="1682" y="0"/>
              <a:chExt cx="4316" cy="4320"/>
            </a:xfrm>
          </p:grpSpPr>
          <p:sp>
            <p:nvSpPr>
              <p:cNvPr id="18" name="AutoShape 13">
                <a:extLst>
                  <a:ext uri="{FF2B5EF4-FFF2-40B4-BE49-F238E27FC236}">
                    <a16:creationId xmlns:a16="http://schemas.microsoft.com/office/drawing/2014/main" id="{9D630B2A-1C7E-714D-925B-F7C683A6A19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sp>
            <p:nvSpPr>
              <p:cNvPr id="19" name="Freeform 15">
                <a:extLst>
                  <a:ext uri="{FF2B5EF4-FFF2-40B4-BE49-F238E27FC236}">
                    <a16:creationId xmlns:a16="http://schemas.microsoft.com/office/drawing/2014/main" id="{69BFFEFA-2101-8049-A88B-732E221EA2B3}"/>
                  </a:ext>
                </a:extLst>
              </p:cNvPr>
              <p:cNvSpPr>
                <a:spLocks noEditPoints="1"/>
              </p:cNvSpPr>
              <p:nvPr/>
            </p:nvSpPr>
            <p:spPr bwMode="auto">
              <a:xfrm>
                <a:off x="2289" y="634"/>
                <a:ext cx="3597" cy="2458"/>
              </a:xfrm>
              <a:custGeom>
                <a:avLst/>
                <a:gdLst>
                  <a:gd name="T0" fmla="*/ 1589 w 1920"/>
                  <a:gd name="T1" fmla="*/ 766 h 1311"/>
                  <a:gd name="T2" fmla="*/ 1370 w 1920"/>
                  <a:gd name="T3" fmla="*/ 729 h 1311"/>
                  <a:gd name="T4" fmla="*/ 1154 w 1920"/>
                  <a:gd name="T5" fmla="*/ 578 h 1311"/>
                  <a:gd name="T6" fmla="*/ 1120 w 1920"/>
                  <a:gd name="T7" fmla="*/ 503 h 1311"/>
                  <a:gd name="T8" fmla="*/ 1413 w 1920"/>
                  <a:gd name="T9" fmla="*/ 336 h 1311"/>
                  <a:gd name="T10" fmla="*/ 1595 w 1920"/>
                  <a:gd name="T11" fmla="*/ 1046 h 1311"/>
                  <a:gd name="T12" fmla="*/ 545 w 1920"/>
                  <a:gd name="T13" fmla="*/ 735 h 1311"/>
                  <a:gd name="T14" fmla="*/ 539 w 1920"/>
                  <a:gd name="T15" fmla="*/ 639 h 1311"/>
                  <a:gd name="T16" fmla="*/ 495 w 1920"/>
                  <a:gd name="T17" fmla="*/ 644 h 1311"/>
                  <a:gd name="T18" fmla="*/ 504 w 1920"/>
                  <a:gd name="T19" fmla="*/ 752 h 1311"/>
                  <a:gd name="T20" fmla="*/ 578 w 1920"/>
                  <a:gd name="T21" fmla="*/ 864 h 1311"/>
                  <a:gd name="T22" fmla="*/ 494 w 1920"/>
                  <a:gd name="T23" fmla="*/ 884 h 1311"/>
                  <a:gd name="T24" fmla="*/ 482 w 1920"/>
                  <a:gd name="T25" fmla="*/ 1079 h 1311"/>
                  <a:gd name="T26" fmla="*/ 297 w 1920"/>
                  <a:gd name="T27" fmla="*/ 1086 h 1311"/>
                  <a:gd name="T28" fmla="*/ 287 w 1920"/>
                  <a:gd name="T29" fmla="*/ 1267 h 1311"/>
                  <a:gd name="T30" fmla="*/ 44 w 1920"/>
                  <a:gd name="T31" fmla="*/ 1089 h 1311"/>
                  <a:gd name="T32" fmla="*/ 0 w 1920"/>
                  <a:gd name="T33" fmla="*/ 1235 h 1311"/>
                  <a:gd name="T34" fmla="*/ 283 w 1920"/>
                  <a:gd name="T35" fmla="*/ 1311 h 1311"/>
                  <a:gd name="T36" fmla="*/ 331 w 1920"/>
                  <a:gd name="T37" fmla="*/ 1289 h 1311"/>
                  <a:gd name="T38" fmla="*/ 395 w 1920"/>
                  <a:gd name="T39" fmla="*/ 1132 h 1311"/>
                  <a:gd name="T40" fmla="*/ 535 w 1920"/>
                  <a:gd name="T41" fmla="*/ 987 h 1311"/>
                  <a:gd name="T42" fmla="*/ 620 w 1920"/>
                  <a:gd name="T43" fmla="*/ 879 h 1311"/>
                  <a:gd name="T44" fmla="*/ 1333 w 1920"/>
                  <a:gd name="T45" fmla="*/ 193 h 1311"/>
                  <a:gd name="T46" fmla="*/ 1334 w 1920"/>
                  <a:gd name="T47" fmla="*/ 189 h 1311"/>
                  <a:gd name="T48" fmla="*/ 1334 w 1920"/>
                  <a:gd name="T49" fmla="*/ 185 h 1311"/>
                  <a:gd name="T50" fmla="*/ 1333 w 1920"/>
                  <a:gd name="T51" fmla="*/ 181 h 1311"/>
                  <a:gd name="T52" fmla="*/ 1333 w 1920"/>
                  <a:gd name="T53" fmla="*/ 181 h 1311"/>
                  <a:gd name="T54" fmla="*/ 1274 w 1920"/>
                  <a:gd name="T55" fmla="*/ 77 h 1311"/>
                  <a:gd name="T56" fmla="*/ 1269 w 1920"/>
                  <a:gd name="T57" fmla="*/ 130 h 1311"/>
                  <a:gd name="T58" fmla="*/ 331 w 1920"/>
                  <a:gd name="T59" fmla="*/ 170 h 1311"/>
                  <a:gd name="T60" fmla="*/ 344 w 1920"/>
                  <a:gd name="T61" fmla="*/ 210 h 1311"/>
                  <a:gd name="T62" fmla="*/ 828 w 1920"/>
                  <a:gd name="T63" fmla="*/ 44 h 1311"/>
                  <a:gd name="T64" fmla="*/ 1216 w 1920"/>
                  <a:gd name="T65" fmla="*/ 169 h 1311"/>
                  <a:gd name="T66" fmla="*/ 1217 w 1920"/>
                  <a:gd name="T67" fmla="*/ 213 h 1311"/>
                  <a:gd name="T68" fmla="*/ 1313 w 1920"/>
                  <a:gd name="T69" fmla="*/ 210 h 1311"/>
                  <a:gd name="T70" fmla="*/ 1315 w 1920"/>
                  <a:gd name="T71" fmla="*/ 209 h 1311"/>
                  <a:gd name="T72" fmla="*/ 1319 w 1920"/>
                  <a:gd name="T73" fmla="*/ 208 h 1311"/>
                  <a:gd name="T74" fmla="*/ 1323 w 1920"/>
                  <a:gd name="T75" fmla="*/ 207 h 1311"/>
                  <a:gd name="T76" fmla="*/ 1326 w 1920"/>
                  <a:gd name="T77" fmla="*/ 204 h 1311"/>
                  <a:gd name="T78" fmla="*/ 1329 w 1920"/>
                  <a:gd name="T79" fmla="*/ 201 h 1311"/>
                  <a:gd name="T80" fmla="*/ 1330 w 1920"/>
                  <a:gd name="T81" fmla="*/ 200 h 1311"/>
                  <a:gd name="T82" fmla="*/ 1332 w 1920"/>
                  <a:gd name="T83" fmla="*/ 197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0" h="1311">
                    <a:moveTo>
                      <a:pt x="1595" y="1046"/>
                    </a:moveTo>
                    <a:cubicBezTo>
                      <a:pt x="1561" y="1031"/>
                      <a:pt x="1701" y="878"/>
                      <a:pt x="1589" y="766"/>
                    </a:cubicBezTo>
                    <a:cubicBezTo>
                      <a:pt x="1589" y="766"/>
                      <a:pt x="1455" y="741"/>
                      <a:pt x="1330" y="690"/>
                    </a:cubicBezTo>
                    <a:cubicBezTo>
                      <a:pt x="1338" y="701"/>
                      <a:pt x="1350" y="714"/>
                      <a:pt x="1370" y="729"/>
                    </a:cubicBezTo>
                    <a:cubicBezTo>
                      <a:pt x="1375" y="733"/>
                      <a:pt x="1370" y="741"/>
                      <a:pt x="1365" y="738"/>
                    </a:cubicBezTo>
                    <a:cubicBezTo>
                      <a:pt x="1301" y="705"/>
                      <a:pt x="1185" y="622"/>
                      <a:pt x="1154" y="578"/>
                    </a:cubicBezTo>
                    <a:cubicBezTo>
                      <a:pt x="1154" y="578"/>
                      <a:pt x="1154" y="578"/>
                      <a:pt x="1154" y="578"/>
                    </a:cubicBezTo>
                    <a:cubicBezTo>
                      <a:pt x="1134" y="555"/>
                      <a:pt x="1122" y="530"/>
                      <a:pt x="1120" y="503"/>
                    </a:cubicBezTo>
                    <a:cubicBezTo>
                      <a:pt x="1120" y="497"/>
                      <a:pt x="1120" y="497"/>
                      <a:pt x="1120" y="497"/>
                    </a:cubicBezTo>
                    <a:cubicBezTo>
                      <a:pt x="1119" y="450"/>
                      <a:pt x="1196" y="350"/>
                      <a:pt x="1413" y="336"/>
                    </a:cubicBezTo>
                    <a:cubicBezTo>
                      <a:pt x="1603" y="325"/>
                      <a:pt x="1727" y="419"/>
                      <a:pt x="1777" y="517"/>
                    </a:cubicBezTo>
                    <a:cubicBezTo>
                      <a:pt x="1920" y="791"/>
                      <a:pt x="1618" y="1057"/>
                      <a:pt x="1595" y="1046"/>
                    </a:cubicBezTo>
                    <a:close/>
                    <a:moveTo>
                      <a:pt x="585" y="799"/>
                    </a:moveTo>
                    <a:cubicBezTo>
                      <a:pt x="568" y="782"/>
                      <a:pt x="553" y="755"/>
                      <a:pt x="545" y="735"/>
                    </a:cubicBezTo>
                    <a:cubicBezTo>
                      <a:pt x="542" y="728"/>
                      <a:pt x="541" y="696"/>
                      <a:pt x="541" y="677"/>
                    </a:cubicBezTo>
                    <a:cubicBezTo>
                      <a:pt x="540" y="663"/>
                      <a:pt x="540" y="650"/>
                      <a:pt x="539" y="639"/>
                    </a:cubicBezTo>
                    <a:cubicBezTo>
                      <a:pt x="538" y="630"/>
                      <a:pt x="537" y="618"/>
                      <a:pt x="534" y="607"/>
                    </a:cubicBezTo>
                    <a:cubicBezTo>
                      <a:pt x="523" y="620"/>
                      <a:pt x="510" y="632"/>
                      <a:pt x="495" y="644"/>
                    </a:cubicBezTo>
                    <a:cubicBezTo>
                      <a:pt x="496" y="653"/>
                      <a:pt x="496" y="665"/>
                      <a:pt x="497" y="678"/>
                    </a:cubicBezTo>
                    <a:cubicBezTo>
                      <a:pt x="498" y="715"/>
                      <a:pt x="499" y="738"/>
                      <a:pt x="504" y="752"/>
                    </a:cubicBezTo>
                    <a:cubicBezTo>
                      <a:pt x="509" y="763"/>
                      <a:pt x="526" y="803"/>
                      <a:pt x="554" y="830"/>
                    </a:cubicBezTo>
                    <a:cubicBezTo>
                      <a:pt x="567" y="844"/>
                      <a:pt x="575" y="857"/>
                      <a:pt x="578" y="864"/>
                    </a:cubicBezTo>
                    <a:cubicBezTo>
                      <a:pt x="571" y="871"/>
                      <a:pt x="550" y="882"/>
                      <a:pt x="512" y="878"/>
                    </a:cubicBezTo>
                    <a:cubicBezTo>
                      <a:pt x="506" y="877"/>
                      <a:pt x="499" y="879"/>
                      <a:pt x="494" y="884"/>
                    </a:cubicBezTo>
                    <a:cubicBezTo>
                      <a:pt x="490" y="888"/>
                      <a:pt x="487" y="895"/>
                      <a:pt x="488" y="901"/>
                    </a:cubicBezTo>
                    <a:cubicBezTo>
                      <a:pt x="493" y="974"/>
                      <a:pt x="492" y="1063"/>
                      <a:pt x="482" y="1079"/>
                    </a:cubicBezTo>
                    <a:cubicBezTo>
                      <a:pt x="462" y="1093"/>
                      <a:pt x="339" y="1088"/>
                      <a:pt x="315" y="1083"/>
                    </a:cubicBezTo>
                    <a:cubicBezTo>
                      <a:pt x="309" y="1082"/>
                      <a:pt x="302" y="1083"/>
                      <a:pt x="297" y="1086"/>
                    </a:cubicBezTo>
                    <a:cubicBezTo>
                      <a:pt x="291" y="1091"/>
                      <a:pt x="287" y="1097"/>
                      <a:pt x="287" y="1105"/>
                    </a:cubicBezTo>
                    <a:cubicBezTo>
                      <a:pt x="287" y="1267"/>
                      <a:pt x="287" y="1267"/>
                      <a:pt x="287" y="1267"/>
                    </a:cubicBezTo>
                    <a:cubicBezTo>
                      <a:pt x="240" y="1267"/>
                      <a:pt x="123" y="1263"/>
                      <a:pt x="44" y="1222"/>
                    </a:cubicBezTo>
                    <a:cubicBezTo>
                      <a:pt x="44" y="1089"/>
                      <a:pt x="44" y="1089"/>
                      <a:pt x="44" y="1089"/>
                    </a:cubicBezTo>
                    <a:cubicBezTo>
                      <a:pt x="35" y="1086"/>
                      <a:pt x="21" y="1080"/>
                      <a:pt x="0" y="1064"/>
                    </a:cubicBezTo>
                    <a:cubicBezTo>
                      <a:pt x="0" y="1235"/>
                      <a:pt x="0" y="1235"/>
                      <a:pt x="0" y="1235"/>
                    </a:cubicBezTo>
                    <a:cubicBezTo>
                      <a:pt x="0" y="1242"/>
                      <a:pt x="5" y="1249"/>
                      <a:pt x="11" y="1253"/>
                    </a:cubicBezTo>
                    <a:cubicBezTo>
                      <a:pt x="97" y="1305"/>
                      <a:pt x="227" y="1311"/>
                      <a:pt x="283" y="1311"/>
                    </a:cubicBezTo>
                    <a:cubicBezTo>
                      <a:pt x="299" y="1311"/>
                      <a:pt x="309" y="1311"/>
                      <a:pt x="310" y="1311"/>
                    </a:cubicBezTo>
                    <a:cubicBezTo>
                      <a:pt x="322" y="1310"/>
                      <a:pt x="331" y="1300"/>
                      <a:pt x="331" y="1289"/>
                    </a:cubicBezTo>
                    <a:cubicBezTo>
                      <a:pt x="331" y="1129"/>
                      <a:pt x="331" y="1129"/>
                      <a:pt x="331" y="1129"/>
                    </a:cubicBezTo>
                    <a:cubicBezTo>
                      <a:pt x="354" y="1131"/>
                      <a:pt x="382" y="1132"/>
                      <a:pt x="395" y="1132"/>
                    </a:cubicBezTo>
                    <a:cubicBezTo>
                      <a:pt x="480" y="1133"/>
                      <a:pt x="503" y="1120"/>
                      <a:pt x="513" y="1110"/>
                    </a:cubicBezTo>
                    <a:cubicBezTo>
                      <a:pt x="524" y="1099"/>
                      <a:pt x="535" y="1075"/>
                      <a:pt x="535" y="987"/>
                    </a:cubicBezTo>
                    <a:cubicBezTo>
                      <a:pt x="535" y="963"/>
                      <a:pt x="534" y="939"/>
                      <a:pt x="533" y="923"/>
                    </a:cubicBezTo>
                    <a:cubicBezTo>
                      <a:pt x="587" y="921"/>
                      <a:pt x="614" y="895"/>
                      <a:pt x="620" y="879"/>
                    </a:cubicBezTo>
                    <a:cubicBezTo>
                      <a:pt x="633" y="849"/>
                      <a:pt x="590" y="804"/>
                      <a:pt x="585" y="799"/>
                    </a:cubicBezTo>
                    <a:close/>
                    <a:moveTo>
                      <a:pt x="1333" y="193"/>
                    </a:moveTo>
                    <a:cubicBezTo>
                      <a:pt x="1333" y="193"/>
                      <a:pt x="1333" y="193"/>
                      <a:pt x="1333" y="193"/>
                    </a:cubicBezTo>
                    <a:cubicBezTo>
                      <a:pt x="1333" y="192"/>
                      <a:pt x="1334" y="191"/>
                      <a:pt x="1334" y="189"/>
                    </a:cubicBezTo>
                    <a:cubicBezTo>
                      <a:pt x="1334" y="189"/>
                      <a:pt x="1334" y="189"/>
                      <a:pt x="1334" y="189"/>
                    </a:cubicBezTo>
                    <a:cubicBezTo>
                      <a:pt x="1334" y="188"/>
                      <a:pt x="1334" y="186"/>
                      <a:pt x="1334" y="185"/>
                    </a:cubicBezTo>
                    <a:cubicBezTo>
                      <a:pt x="1334" y="185"/>
                      <a:pt x="1334" y="185"/>
                      <a:pt x="1334" y="184"/>
                    </a:cubicBezTo>
                    <a:cubicBezTo>
                      <a:pt x="1333" y="183"/>
                      <a:pt x="1333" y="182"/>
                      <a:pt x="1333" y="181"/>
                    </a:cubicBezTo>
                    <a:cubicBezTo>
                      <a:pt x="1333" y="181"/>
                      <a:pt x="1333" y="181"/>
                      <a:pt x="1333" y="181"/>
                    </a:cubicBezTo>
                    <a:cubicBezTo>
                      <a:pt x="1333" y="181"/>
                      <a:pt x="1333" y="181"/>
                      <a:pt x="1333" y="181"/>
                    </a:cubicBezTo>
                    <a:cubicBezTo>
                      <a:pt x="1302" y="90"/>
                      <a:pt x="1302" y="90"/>
                      <a:pt x="1302" y="90"/>
                    </a:cubicBezTo>
                    <a:cubicBezTo>
                      <a:pt x="1298" y="79"/>
                      <a:pt x="1286" y="73"/>
                      <a:pt x="1274" y="77"/>
                    </a:cubicBezTo>
                    <a:cubicBezTo>
                      <a:pt x="1263" y="80"/>
                      <a:pt x="1257" y="93"/>
                      <a:pt x="1261" y="104"/>
                    </a:cubicBezTo>
                    <a:cubicBezTo>
                      <a:pt x="1269" y="130"/>
                      <a:pt x="1269" y="130"/>
                      <a:pt x="1269" y="130"/>
                    </a:cubicBezTo>
                    <a:cubicBezTo>
                      <a:pt x="1138" y="45"/>
                      <a:pt x="987" y="0"/>
                      <a:pt x="828" y="0"/>
                    </a:cubicBezTo>
                    <a:cubicBezTo>
                      <a:pt x="646" y="0"/>
                      <a:pt x="474" y="59"/>
                      <a:pt x="331" y="170"/>
                    </a:cubicBezTo>
                    <a:cubicBezTo>
                      <a:pt x="321" y="178"/>
                      <a:pt x="319" y="192"/>
                      <a:pt x="327" y="201"/>
                    </a:cubicBezTo>
                    <a:cubicBezTo>
                      <a:pt x="331" y="207"/>
                      <a:pt x="338" y="210"/>
                      <a:pt x="344" y="210"/>
                    </a:cubicBezTo>
                    <a:cubicBezTo>
                      <a:pt x="349" y="210"/>
                      <a:pt x="354" y="208"/>
                      <a:pt x="358" y="205"/>
                    </a:cubicBezTo>
                    <a:cubicBezTo>
                      <a:pt x="493" y="100"/>
                      <a:pt x="656" y="44"/>
                      <a:pt x="828" y="44"/>
                    </a:cubicBezTo>
                    <a:cubicBezTo>
                      <a:pt x="979" y="44"/>
                      <a:pt x="1122" y="87"/>
                      <a:pt x="1247" y="168"/>
                    </a:cubicBezTo>
                    <a:cubicBezTo>
                      <a:pt x="1216" y="169"/>
                      <a:pt x="1216" y="169"/>
                      <a:pt x="1216" y="169"/>
                    </a:cubicBezTo>
                    <a:cubicBezTo>
                      <a:pt x="1204" y="170"/>
                      <a:pt x="1194" y="180"/>
                      <a:pt x="1195" y="192"/>
                    </a:cubicBezTo>
                    <a:cubicBezTo>
                      <a:pt x="1195" y="204"/>
                      <a:pt x="1205" y="213"/>
                      <a:pt x="1217" y="213"/>
                    </a:cubicBezTo>
                    <a:cubicBezTo>
                      <a:pt x="1217" y="213"/>
                      <a:pt x="1217" y="213"/>
                      <a:pt x="1218" y="213"/>
                    </a:cubicBezTo>
                    <a:cubicBezTo>
                      <a:pt x="1313" y="210"/>
                      <a:pt x="1313" y="210"/>
                      <a:pt x="1313" y="210"/>
                    </a:cubicBezTo>
                    <a:cubicBezTo>
                      <a:pt x="1313" y="210"/>
                      <a:pt x="1314" y="210"/>
                      <a:pt x="1314" y="209"/>
                    </a:cubicBezTo>
                    <a:cubicBezTo>
                      <a:pt x="1315" y="209"/>
                      <a:pt x="1315" y="209"/>
                      <a:pt x="1315" y="209"/>
                    </a:cubicBezTo>
                    <a:cubicBezTo>
                      <a:pt x="1316" y="209"/>
                      <a:pt x="1317" y="209"/>
                      <a:pt x="1319" y="209"/>
                    </a:cubicBezTo>
                    <a:cubicBezTo>
                      <a:pt x="1319" y="209"/>
                      <a:pt x="1319" y="208"/>
                      <a:pt x="1319" y="208"/>
                    </a:cubicBezTo>
                    <a:cubicBezTo>
                      <a:pt x="1320" y="208"/>
                      <a:pt x="1321" y="207"/>
                      <a:pt x="1323" y="207"/>
                    </a:cubicBezTo>
                    <a:cubicBezTo>
                      <a:pt x="1323" y="207"/>
                      <a:pt x="1323" y="207"/>
                      <a:pt x="1323" y="207"/>
                    </a:cubicBezTo>
                    <a:cubicBezTo>
                      <a:pt x="1324" y="206"/>
                      <a:pt x="1325" y="205"/>
                      <a:pt x="1326" y="204"/>
                    </a:cubicBezTo>
                    <a:cubicBezTo>
                      <a:pt x="1326" y="204"/>
                      <a:pt x="1326" y="204"/>
                      <a:pt x="1326" y="204"/>
                    </a:cubicBezTo>
                    <a:cubicBezTo>
                      <a:pt x="1327" y="203"/>
                      <a:pt x="1328" y="202"/>
                      <a:pt x="1329" y="201"/>
                    </a:cubicBezTo>
                    <a:cubicBezTo>
                      <a:pt x="1329" y="201"/>
                      <a:pt x="1329" y="201"/>
                      <a:pt x="1329" y="201"/>
                    </a:cubicBezTo>
                    <a:cubicBezTo>
                      <a:pt x="1329" y="201"/>
                      <a:pt x="1329" y="201"/>
                      <a:pt x="1329" y="201"/>
                    </a:cubicBezTo>
                    <a:cubicBezTo>
                      <a:pt x="1330" y="201"/>
                      <a:pt x="1330" y="200"/>
                      <a:pt x="1330" y="200"/>
                    </a:cubicBezTo>
                    <a:cubicBezTo>
                      <a:pt x="1331" y="199"/>
                      <a:pt x="1331" y="198"/>
                      <a:pt x="1331" y="197"/>
                    </a:cubicBezTo>
                    <a:cubicBezTo>
                      <a:pt x="1332" y="197"/>
                      <a:pt x="1332" y="197"/>
                      <a:pt x="1332" y="197"/>
                    </a:cubicBezTo>
                    <a:cubicBezTo>
                      <a:pt x="1332" y="196"/>
                      <a:pt x="1333" y="195"/>
                      <a:pt x="1333" y="193"/>
                    </a:cubicBezTo>
                    <a:close/>
                  </a:path>
                </a:pathLst>
              </a:custGeom>
              <a:solidFill>
                <a:srgbClr val="05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sp>
            <p:nvSpPr>
              <p:cNvPr id="20" name="Freeform 16">
                <a:extLst>
                  <a:ext uri="{FF2B5EF4-FFF2-40B4-BE49-F238E27FC236}">
                    <a16:creationId xmlns:a16="http://schemas.microsoft.com/office/drawing/2014/main" id="{4598C334-7A0F-854E-80E9-C92CD5B339F9}"/>
                  </a:ext>
                </a:extLst>
              </p:cNvPr>
              <p:cNvSpPr>
                <a:spLocks noEditPoints="1"/>
              </p:cNvSpPr>
              <p:nvPr/>
            </p:nvSpPr>
            <p:spPr bwMode="auto">
              <a:xfrm>
                <a:off x="1793" y="1243"/>
                <a:ext cx="3594" cy="2439"/>
              </a:xfrm>
              <a:custGeom>
                <a:avLst/>
                <a:gdLst>
                  <a:gd name="T0" fmla="*/ 1919 w 1919"/>
                  <a:gd name="T1" fmla="*/ 910 h 1301"/>
                  <a:gd name="T2" fmla="*/ 1636 w 1919"/>
                  <a:gd name="T3" fmla="*/ 986 h 1301"/>
                  <a:gd name="T4" fmla="*/ 1588 w 1919"/>
                  <a:gd name="T5" fmla="*/ 964 h 1301"/>
                  <a:gd name="T6" fmla="*/ 1524 w 1919"/>
                  <a:gd name="T7" fmla="*/ 807 h 1301"/>
                  <a:gd name="T8" fmla="*/ 1385 w 1919"/>
                  <a:gd name="T9" fmla="*/ 662 h 1301"/>
                  <a:gd name="T10" fmla="*/ 1299 w 1919"/>
                  <a:gd name="T11" fmla="*/ 554 h 1301"/>
                  <a:gd name="T12" fmla="*/ 1375 w 1919"/>
                  <a:gd name="T13" fmla="*/ 410 h 1301"/>
                  <a:gd name="T14" fmla="*/ 1381 w 1919"/>
                  <a:gd name="T15" fmla="*/ 314 h 1301"/>
                  <a:gd name="T16" fmla="*/ 1424 w 1919"/>
                  <a:gd name="T17" fmla="*/ 319 h 1301"/>
                  <a:gd name="T18" fmla="*/ 1415 w 1919"/>
                  <a:gd name="T19" fmla="*/ 427 h 1301"/>
                  <a:gd name="T20" fmla="*/ 1342 w 1919"/>
                  <a:gd name="T21" fmla="*/ 539 h 1301"/>
                  <a:gd name="T22" fmla="*/ 1425 w 1919"/>
                  <a:gd name="T23" fmla="*/ 559 h 1301"/>
                  <a:gd name="T24" fmla="*/ 1438 w 1919"/>
                  <a:gd name="T25" fmla="*/ 754 h 1301"/>
                  <a:gd name="T26" fmla="*/ 1622 w 1919"/>
                  <a:gd name="T27" fmla="*/ 761 h 1301"/>
                  <a:gd name="T28" fmla="*/ 1632 w 1919"/>
                  <a:gd name="T29" fmla="*/ 942 h 1301"/>
                  <a:gd name="T30" fmla="*/ 1875 w 1919"/>
                  <a:gd name="T31" fmla="*/ 764 h 1301"/>
                  <a:gd name="T32" fmla="*/ 800 w 1919"/>
                  <a:gd name="T33" fmla="*/ 172 h 1301"/>
                  <a:gd name="T34" fmla="*/ 142 w 1919"/>
                  <a:gd name="T35" fmla="*/ 192 h 1301"/>
                  <a:gd name="T36" fmla="*/ 331 w 1919"/>
                  <a:gd name="T37" fmla="*/ 441 h 1301"/>
                  <a:gd name="T38" fmla="*/ 550 w 1919"/>
                  <a:gd name="T39" fmla="*/ 404 h 1301"/>
                  <a:gd name="T40" fmla="*/ 766 w 1919"/>
                  <a:gd name="T41" fmla="*/ 253 h 1301"/>
                  <a:gd name="T42" fmla="*/ 800 w 1919"/>
                  <a:gd name="T43" fmla="*/ 178 h 1301"/>
                  <a:gd name="T44" fmla="*/ 1594 w 1919"/>
                  <a:gd name="T45" fmla="*/ 1100 h 1301"/>
                  <a:gd name="T46" fmla="*/ 1093 w 1919"/>
                  <a:gd name="T47" fmla="*/ 1257 h 1301"/>
                  <a:gd name="T48" fmla="*/ 705 w 1919"/>
                  <a:gd name="T49" fmla="*/ 1132 h 1301"/>
                  <a:gd name="T50" fmla="*/ 703 w 1919"/>
                  <a:gd name="T51" fmla="*/ 1088 h 1301"/>
                  <a:gd name="T52" fmla="*/ 607 w 1919"/>
                  <a:gd name="T53" fmla="*/ 1092 h 1301"/>
                  <a:gd name="T54" fmla="*/ 602 w 1919"/>
                  <a:gd name="T55" fmla="*/ 1092 h 1301"/>
                  <a:gd name="T56" fmla="*/ 598 w 1919"/>
                  <a:gd name="T57" fmla="*/ 1094 h 1301"/>
                  <a:gd name="T58" fmla="*/ 595 w 1919"/>
                  <a:gd name="T59" fmla="*/ 1097 h 1301"/>
                  <a:gd name="T60" fmla="*/ 592 w 1919"/>
                  <a:gd name="T61" fmla="*/ 1100 h 1301"/>
                  <a:gd name="T62" fmla="*/ 592 w 1919"/>
                  <a:gd name="T63" fmla="*/ 1100 h 1301"/>
                  <a:gd name="T64" fmla="*/ 589 w 1919"/>
                  <a:gd name="T65" fmla="*/ 1104 h 1301"/>
                  <a:gd name="T66" fmla="*/ 588 w 1919"/>
                  <a:gd name="T67" fmla="*/ 1108 h 1301"/>
                  <a:gd name="T68" fmla="*/ 587 w 1919"/>
                  <a:gd name="T69" fmla="*/ 1112 h 1301"/>
                  <a:gd name="T70" fmla="*/ 587 w 1919"/>
                  <a:gd name="T71" fmla="*/ 1116 h 1301"/>
                  <a:gd name="T72" fmla="*/ 588 w 1919"/>
                  <a:gd name="T73" fmla="*/ 1120 h 1301"/>
                  <a:gd name="T74" fmla="*/ 588 w 1919"/>
                  <a:gd name="T75" fmla="*/ 1120 h 1301"/>
                  <a:gd name="T76" fmla="*/ 640 w 1919"/>
                  <a:gd name="T77" fmla="*/ 1226 h 1301"/>
                  <a:gd name="T78" fmla="*/ 660 w 1919"/>
                  <a:gd name="T79" fmla="*/ 1197 h 1301"/>
                  <a:gd name="T80" fmla="*/ 1093 w 1919"/>
                  <a:gd name="T81" fmla="*/ 1301 h 1301"/>
                  <a:gd name="T82" fmla="*/ 1594 w 1919"/>
                  <a:gd name="T83" fmla="*/ 1100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19" h="1301">
                    <a:moveTo>
                      <a:pt x="1919" y="739"/>
                    </a:moveTo>
                    <a:cubicBezTo>
                      <a:pt x="1919" y="910"/>
                      <a:pt x="1919" y="910"/>
                      <a:pt x="1919" y="910"/>
                    </a:cubicBezTo>
                    <a:cubicBezTo>
                      <a:pt x="1919" y="917"/>
                      <a:pt x="1915" y="924"/>
                      <a:pt x="1908" y="928"/>
                    </a:cubicBezTo>
                    <a:cubicBezTo>
                      <a:pt x="1823" y="980"/>
                      <a:pt x="1692" y="986"/>
                      <a:pt x="1636" y="986"/>
                    </a:cubicBezTo>
                    <a:cubicBezTo>
                      <a:pt x="1621" y="986"/>
                      <a:pt x="1611" y="986"/>
                      <a:pt x="1609" y="986"/>
                    </a:cubicBezTo>
                    <a:cubicBezTo>
                      <a:pt x="1597" y="985"/>
                      <a:pt x="1588" y="975"/>
                      <a:pt x="1588" y="964"/>
                    </a:cubicBezTo>
                    <a:cubicBezTo>
                      <a:pt x="1588" y="804"/>
                      <a:pt x="1588" y="804"/>
                      <a:pt x="1588" y="804"/>
                    </a:cubicBezTo>
                    <a:cubicBezTo>
                      <a:pt x="1566" y="806"/>
                      <a:pt x="1538" y="807"/>
                      <a:pt x="1524" y="807"/>
                    </a:cubicBezTo>
                    <a:cubicBezTo>
                      <a:pt x="1440" y="808"/>
                      <a:pt x="1417" y="795"/>
                      <a:pt x="1406" y="785"/>
                    </a:cubicBezTo>
                    <a:cubicBezTo>
                      <a:pt x="1395" y="774"/>
                      <a:pt x="1384" y="750"/>
                      <a:pt x="1385" y="662"/>
                    </a:cubicBezTo>
                    <a:cubicBezTo>
                      <a:pt x="1385" y="638"/>
                      <a:pt x="1385" y="614"/>
                      <a:pt x="1386" y="598"/>
                    </a:cubicBezTo>
                    <a:cubicBezTo>
                      <a:pt x="1332" y="596"/>
                      <a:pt x="1306" y="570"/>
                      <a:pt x="1299" y="554"/>
                    </a:cubicBezTo>
                    <a:cubicBezTo>
                      <a:pt x="1286" y="524"/>
                      <a:pt x="1330" y="479"/>
                      <a:pt x="1335" y="474"/>
                    </a:cubicBezTo>
                    <a:cubicBezTo>
                      <a:pt x="1352" y="457"/>
                      <a:pt x="1367" y="430"/>
                      <a:pt x="1375" y="410"/>
                    </a:cubicBezTo>
                    <a:cubicBezTo>
                      <a:pt x="1378" y="403"/>
                      <a:pt x="1378" y="371"/>
                      <a:pt x="1379" y="352"/>
                    </a:cubicBezTo>
                    <a:cubicBezTo>
                      <a:pt x="1379" y="338"/>
                      <a:pt x="1380" y="325"/>
                      <a:pt x="1381" y="314"/>
                    </a:cubicBezTo>
                    <a:cubicBezTo>
                      <a:pt x="1381" y="305"/>
                      <a:pt x="1383" y="294"/>
                      <a:pt x="1385" y="282"/>
                    </a:cubicBezTo>
                    <a:cubicBezTo>
                      <a:pt x="1396" y="295"/>
                      <a:pt x="1409" y="307"/>
                      <a:pt x="1424" y="319"/>
                    </a:cubicBezTo>
                    <a:cubicBezTo>
                      <a:pt x="1424" y="328"/>
                      <a:pt x="1423" y="340"/>
                      <a:pt x="1423" y="353"/>
                    </a:cubicBezTo>
                    <a:cubicBezTo>
                      <a:pt x="1422" y="390"/>
                      <a:pt x="1421" y="413"/>
                      <a:pt x="1415" y="427"/>
                    </a:cubicBezTo>
                    <a:cubicBezTo>
                      <a:pt x="1411" y="438"/>
                      <a:pt x="1393" y="478"/>
                      <a:pt x="1366" y="505"/>
                    </a:cubicBezTo>
                    <a:cubicBezTo>
                      <a:pt x="1352" y="519"/>
                      <a:pt x="1344" y="532"/>
                      <a:pt x="1342" y="539"/>
                    </a:cubicBezTo>
                    <a:cubicBezTo>
                      <a:pt x="1349" y="546"/>
                      <a:pt x="1369" y="557"/>
                      <a:pt x="1407" y="553"/>
                    </a:cubicBezTo>
                    <a:cubicBezTo>
                      <a:pt x="1414" y="552"/>
                      <a:pt x="1420" y="554"/>
                      <a:pt x="1425" y="559"/>
                    </a:cubicBezTo>
                    <a:cubicBezTo>
                      <a:pt x="1430" y="563"/>
                      <a:pt x="1432" y="570"/>
                      <a:pt x="1432" y="576"/>
                    </a:cubicBezTo>
                    <a:cubicBezTo>
                      <a:pt x="1425" y="658"/>
                      <a:pt x="1428" y="739"/>
                      <a:pt x="1438" y="754"/>
                    </a:cubicBezTo>
                    <a:cubicBezTo>
                      <a:pt x="1458" y="768"/>
                      <a:pt x="1580" y="763"/>
                      <a:pt x="1605" y="758"/>
                    </a:cubicBezTo>
                    <a:cubicBezTo>
                      <a:pt x="1611" y="757"/>
                      <a:pt x="1617" y="758"/>
                      <a:pt x="1622" y="761"/>
                    </a:cubicBezTo>
                    <a:cubicBezTo>
                      <a:pt x="1629" y="766"/>
                      <a:pt x="1632" y="772"/>
                      <a:pt x="1632" y="780"/>
                    </a:cubicBezTo>
                    <a:cubicBezTo>
                      <a:pt x="1632" y="942"/>
                      <a:pt x="1632" y="942"/>
                      <a:pt x="1632" y="942"/>
                    </a:cubicBezTo>
                    <a:cubicBezTo>
                      <a:pt x="1679" y="942"/>
                      <a:pt x="1797" y="938"/>
                      <a:pt x="1875" y="897"/>
                    </a:cubicBezTo>
                    <a:cubicBezTo>
                      <a:pt x="1875" y="764"/>
                      <a:pt x="1875" y="764"/>
                      <a:pt x="1875" y="764"/>
                    </a:cubicBezTo>
                    <a:cubicBezTo>
                      <a:pt x="1885" y="761"/>
                      <a:pt x="1899" y="755"/>
                      <a:pt x="1919" y="739"/>
                    </a:cubicBezTo>
                    <a:close/>
                    <a:moveTo>
                      <a:pt x="800" y="172"/>
                    </a:moveTo>
                    <a:cubicBezTo>
                      <a:pt x="801" y="125"/>
                      <a:pt x="724" y="25"/>
                      <a:pt x="507" y="11"/>
                    </a:cubicBezTo>
                    <a:cubicBezTo>
                      <a:pt x="317" y="0"/>
                      <a:pt x="193" y="94"/>
                      <a:pt x="142" y="192"/>
                    </a:cubicBezTo>
                    <a:cubicBezTo>
                      <a:pt x="0" y="466"/>
                      <a:pt x="301" y="732"/>
                      <a:pt x="325" y="721"/>
                    </a:cubicBezTo>
                    <a:cubicBezTo>
                      <a:pt x="359" y="706"/>
                      <a:pt x="218" y="553"/>
                      <a:pt x="331" y="441"/>
                    </a:cubicBezTo>
                    <a:cubicBezTo>
                      <a:pt x="331" y="441"/>
                      <a:pt x="465" y="416"/>
                      <a:pt x="590" y="365"/>
                    </a:cubicBezTo>
                    <a:cubicBezTo>
                      <a:pt x="582" y="376"/>
                      <a:pt x="569" y="389"/>
                      <a:pt x="550" y="404"/>
                    </a:cubicBezTo>
                    <a:cubicBezTo>
                      <a:pt x="545" y="408"/>
                      <a:pt x="549" y="416"/>
                      <a:pt x="555" y="413"/>
                    </a:cubicBezTo>
                    <a:cubicBezTo>
                      <a:pt x="618" y="380"/>
                      <a:pt x="734" y="297"/>
                      <a:pt x="766" y="253"/>
                    </a:cubicBezTo>
                    <a:cubicBezTo>
                      <a:pt x="766" y="253"/>
                      <a:pt x="766" y="253"/>
                      <a:pt x="766" y="253"/>
                    </a:cubicBezTo>
                    <a:cubicBezTo>
                      <a:pt x="786" y="230"/>
                      <a:pt x="798" y="205"/>
                      <a:pt x="800" y="178"/>
                    </a:cubicBezTo>
                    <a:lnTo>
                      <a:pt x="800" y="172"/>
                    </a:lnTo>
                    <a:close/>
                    <a:moveTo>
                      <a:pt x="1594" y="1100"/>
                    </a:moveTo>
                    <a:cubicBezTo>
                      <a:pt x="1587" y="1090"/>
                      <a:pt x="1573" y="1089"/>
                      <a:pt x="1563" y="1096"/>
                    </a:cubicBezTo>
                    <a:cubicBezTo>
                      <a:pt x="1428" y="1201"/>
                      <a:pt x="1265" y="1257"/>
                      <a:pt x="1093" y="1257"/>
                    </a:cubicBezTo>
                    <a:cubicBezTo>
                      <a:pt x="942" y="1257"/>
                      <a:pt x="799" y="1214"/>
                      <a:pt x="674" y="1133"/>
                    </a:cubicBezTo>
                    <a:cubicBezTo>
                      <a:pt x="705" y="1132"/>
                      <a:pt x="705" y="1132"/>
                      <a:pt x="705" y="1132"/>
                    </a:cubicBezTo>
                    <a:cubicBezTo>
                      <a:pt x="717" y="1131"/>
                      <a:pt x="727" y="1121"/>
                      <a:pt x="726" y="1109"/>
                    </a:cubicBezTo>
                    <a:cubicBezTo>
                      <a:pt x="726" y="1097"/>
                      <a:pt x="716" y="1087"/>
                      <a:pt x="703" y="1088"/>
                    </a:cubicBezTo>
                    <a:cubicBezTo>
                      <a:pt x="608" y="1091"/>
                      <a:pt x="608" y="1091"/>
                      <a:pt x="608" y="1091"/>
                    </a:cubicBezTo>
                    <a:cubicBezTo>
                      <a:pt x="608" y="1091"/>
                      <a:pt x="607" y="1091"/>
                      <a:pt x="607" y="1092"/>
                    </a:cubicBezTo>
                    <a:cubicBezTo>
                      <a:pt x="606" y="1092"/>
                      <a:pt x="606" y="1092"/>
                      <a:pt x="606" y="1092"/>
                    </a:cubicBezTo>
                    <a:cubicBezTo>
                      <a:pt x="605" y="1092"/>
                      <a:pt x="604" y="1092"/>
                      <a:pt x="602" y="1092"/>
                    </a:cubicBezTo>
                    <a:cubicBezTo>
                      <a:pt x="602" y="1092"/>
                      <a:pt x="602" y="1093"/>
                      <a:pt x="602" y="1093"/>
                    </a:cubicBezTo>
                    <a:cubicBezTo>
                      <a:pt x="601" y="1093"/>
                      <a:pt x="600" y="1094"/>
                      <a:pt x="598" y="1094"/>
                    </a:cubicBezTo>
                    <a:cubicBezTo>
                      <a:pt x="598" y="1094"/>
                      <a:pt x="598" y="1094"/>
                      <a:pt x="598" y="1094"/>
                    </a:cubicBezTo>
                    <a:cubicBezTo>
                      <a:pt x="597" y="1095"/>
                      <a:pt x="596" y="1096"/>
                      <a:pt x="595" y="1097"/>
                    </a:cubicBezTo>
                    <a:cubicBezTo>
                      <a:pt x="595" y="1097"/>
                      <a:pt x="595" y="1097"/>
                      <a:pt x="595" y="1097"/>
                    </a:cubicBezTo>
                    <a:cubicBezTo>
                      <a:pt x="594" y="1098"/>
                      <a:pt x="593" y="1099"/>
                      <a:pt x="592" y="1100"/>
                    </a:cubicBezTo>
                    <a:cubicBezTo>
                      <a:pt x="592" y="1100"/>
                      <a:pt x="592" y="1100"/>
                      <a:pt x="592" y="1100"/>
                    </a:cubicBezTo>
                    <a:cubicBezTo>
                      <a:pt x="592" y="1100"/>
                      <a:pt x="592" y="1100"/>
                      <a:pt x="592" y="1100"/>
                    </a:cubicBezTo>
                    <a:cubicBezTo>
                      <a:pt x="591" y="1100"/>
                      <a:pt x="591" y="1101"/>
                      <a:pt x="591" y="1101"/>
                    </a:cubicBezTo>
                    <a:cubicBezTo>
                      <a:pt x="590" y="1102"/>
                      <a:pt x="590" y="1103"/>
                      <a:pt x="589" y="1104"/>
                    </a:cubicBezTo>
                    <a:cubicBezTo>
                      <a:pt x="589" y="1104"/>
                      <a:pt x="589" y="1104"/>
                      <a:pt x="589" y="1104"/>
                    </a:cubicBezTo>
                    <a:cubicBezTo>
                      <a:pt x="589" y="1105"/>
                      <a:pt x="588" y="1106"/>
                      <a:pt x="588" y="1108"/>
                    </a:cubicBezTo>
                    <a:cubicBezTo>
                      <a:pt x="588" y="1108"/>
                      <a:pt x="588" y="1108"/>
                      <a:pt x="588" y="1108"/>
                    </a:cubicBezTo>
                    <a:cubicBezTo>
                      <a:pt x="588" y="1109"/>
                      <a:pt x="587" y="1110"/>
                      <a:pt x="587" y="1112"/>
                    </a:cubicBezTo>
                    <a:cubicBezTo>
                      <a:pt x="587" y="1112"/>
                      <a:pt x="587" y="1112"/>
                      <a:pt x="587" y="1112"/>
                    </a:cubicBezTo>
                    <a:cubicBezTo>
                      <a:pt x="587" y="1113"/>
                      <a:pt x="587" y="1115"/>
                      <a:pt x="587" y="1116"/>
                    </a:cubicBezTo>
                    <a:cubicBezTo>
                      <a:pt x="587" y="1116"/>
                      <a:pt x="587" y="1116"/>
                      <a:pt x="587" y="1117"/>
                    </a:cubicBezTo>
                    <a:cubicBezTo>
                      <a:pt x="588" y="1118"/>
                      <a:pt x="588" y="1119"/>
                      <a:pt x="588" y="1120"/>
                    </a:cubicBezTo>
                    <a:cubicBezTo>
                      <a:pt x="588" y="1120"/>
                      <a:pt x="588" y="1120"/>
                      <a:pt x="588" y="1120"/>
                    </a:cubicBezTo>
                    <a:cubicBezTo>
                      <a:pt x="588" y="1120"/>
                      <a:pt x="588" y="1120"/>
                      <a:pt x="588" y="1120"/>
                    </a:cubicBezTo>
                    <a:cubicBezTo>
                      <a:pt x="619" y="1211"/>
                      <a:pt x="619" y="1211"/>
                      <a:pt x="619" y="1211"/>
                    </a:cubicBezTo>
                    <a:cubicBezTo>
                      <a:pt x="622" y="1220"/>
                      <a:pt x="630" y="1226"/>
                      <a:pt x="640" y="1226"/>
                    </a:cubicBezTo>
                    <a:cubicBezTo>
                      <a:pt x="642" y="1226"/>
                      <a:pt x="644" y="1225"/>
                      <a:pt x="647" y="1224"/>
                    </a:cubicBezTo>
                    <a:cubicBezTo>
                      <a:pt x="658" y="1221"/>
                      <a:pt x="664" y="1208"/>
                      <a:pt x="660" y="1197"/>
                    </a:cubicBezTo>
                    <a:cubicBezTo>
                      <a:pt x="652" y="1171"/>
                      <a:pt x="652" y="1171"/>
                      <a:pt x="652" y="1171"/>
                    </a:cubicBezTo>
                    <a:cubicBezTo>
                      <a:pt x="783" y="1256"/>
                      <a:pt x="934" y="1301"/>
                      <a:pt x="1093" y="1301"/>
                    </a:cubicBezTo>
                    <a:cubicBezTo>
                      <a:pt x="1275" y="1301"/>
                      <a:pt x="1447" y="1242"/>
                      <a:pt x="1590" y="1131"/>
                    </a:cubicBezTo>
                    <a:cubicBezTo>
                      <a:pt x="1600" y="1123"/>
                      <a:pt x="1602" y="1110"/>
                      <a:pt x="1594" y="1100"/>
                    </a:cubicBezTo>
                    <a:close/>
                  </a:path>
                </a:pathLst>
              </a:custGeom>
              <a:solidFill>
                <a:srgbClr val="0A37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grpSp>
        <p:sp>
          <p:nvSpPr>
            <p:cNvPr id="17" name="Oval 16">
              <a:extLst>
                <a:ext uri="{FF2B5EF4-FFF2-40B4-BE49-F238E27FC236}">
                  <a16:creationId xmlns:a16="http://schemas.microsoft.com/office/drawing/2014/main" id="{4DC1712F-CF9B-E141-935C-AC0B879CBBF2}"/>
                </a:ext>
              </a:extLst>
            </p:cNvPr>
            <p:cNvSpPr/>
            <p:nvPr/>
          </p:nvSpPr>
          <p:spPr>
            <a:xfrm>
              <a:off x="6757322" y="2118456"/>
              <a:ext cx="1125499" cy="1125499"/>
            </a:xfrm>
            <a:prstGeom prst="ellipse">
              <a:avLst/>
            </a:prstGeom>
            <a:grpFill/>
            <a:ln w="38100" cap="flat" cmpd="sng" algn="ctr">
              <a:gradFill flip="none" rotWithShape="1">
                <a:gsLst>
                  <a:gs pos="0">
                    <a:srgbClr val="051934"/>
                  </a:gs>
                  <a:gs pos="100000">
                    <a:srgbClr val="0A3774"/>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12284C"/>
                </a:solidFill>
                <a:effectLst/>
                <a:uLnTx/>
                <a:uFillTx/>
                <a:latin typeface="Open Sans Light"/>
                <a:ea typeface="+mn-ea"/>
                <a:cs typeface="+mn-cs"/>
              </a:endParaRPr>
            </a:p>
          </p:txBody>
        </p:sp>
      </p:grpSp>
      <p:sp>
        <p:nvSpPr>
          <p:cNvPr id="21" name="TextBox 20">
            <a:extLst>
              <a:ext uri="{FF2B5EF4-FFF2-40B4-BE49-F238E27FC236}">
                <a16:creationId xmlns:a16="http://schemas.microsoft.com/office/drawing/2014/main" id="{7C6ED9A3-E625-B845-AFEB-B54EBAE4C2A4}"/>
              </a:ext>
            </a:extLst>
          </p:cNvPr>
          <p:cNvSpPr txBox="1"/>
          <p:nvPr/>
        </p:nvSpPr>
        <p:spPr>
          <a:xfrm>
            <a:off x="5111070" y="2786959"/>
            <a:ext cx="2180961" cy="38779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B7E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284C"/>
                </a:solidFill>
                <a:effectLst/>
                <a:uLnTx/>
                <a:uFillTx/>
                <a:latin typeface="Open Sans Light"/>
                <a:ea typeface="+mn-ea"/>
                <a:cs typeface="+mn-cs"/>
              </a:rPr>
              <a:t>Sanitation / Hygiene</a:t>
            </a:r>
          </a:p>
        </p:txBody>
      </p:sp>
      <p:sp>
        <p:nvSpPr>
          <p:cNvPr id="22" name="TextBox 21">
            <a:extLst>
              <a:ext uri="{FF2B5EF4-FFF2-40B4-BE49-F238E27FC236}">
                <a16:creationId xmlns:a16="http://schemas.microsoft.com/office/drawing/2014/main" id="{2C1B2ED4-EFBF-A145-9567-CB8AC53EEF09}"/>
              </a:ext>
            </a:extLst>
          </p:cNvPr>
          <p:cNvSpPr txBox="1"/>
          <p:nvPr/>
        </p:nvSpPr>
        <p:spPr>
          <a:xfrm>
            <a:off x="4361733" y="3129098"/>
            <a:ext cx="3792053" cy="77559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B7E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284C"/>
                </a:solidFill>
                <a:effectLst/>
                <a:uLnTx/>
                <a:uFillTx/>
                <a:latin typeface="Open Sans Light"/>
                <a:ea typeface="+mn-ea"/>
                <a:cs typeface="+mn-cs"/>
              </a:rPr>
              <a:t>Guidance from </a:t>
            </a:r>
            <a:r>
              <a:rPr kumimoji="0" lang="en-US" sz="1200" b="1" i="0" u="none" strike="noStrike" kern="1200" cap="none" spc="0" normalizeH="0" baseline="0" noProof="0" dirty="0">
                <a:ln>
                  <a:noFill/>
                </a:ln>
                <a:solidFill>
                  <a:srgbClr val="12284C"/>
                </a:solidFill>
                <a:effectLst/>
                <a:uLnTx/>
                <a:uFillTx/>
                <a:latin typeface="Open Sans Light"/>
                <a:ea typeface="+mn-ea"/>
                <a:cs typeface="+mn-cs"/>
              </a:rPr>
              <a:t>Navigating Change </a:t>
            </a:r>
            <a:r>
              <a:rPr kumimoji="0" lang="en-US" sz="1200" b="0" i="0" u="none" strike="noStrike" kern="1200" cap="none" spc="0" normalizeH="0" baseline="0" noProof="0" dirty="0">
                <a:ln>
                  <a:noFill/>
                </a:ln>
                <a:solidFill>
                  <a:srgbClr val="12284C"/>
                </a:solidFill>
                <a:effectLst/>
                <a:uLnTx/>
                <a:uFillTx/>
                <a:latin typeface="Open Sans Light"/>
                <a:ea typeface="+mn-ea"/>
                <a:cs typeface="+mn-cs"/>
              </a:rPr>
              <a:t>recommended processes for cleaning &amp; disinfecting facilities and promoting best practices in hygiene</a:t>
            </a:r>
          </a:p>
        </p:txBody>
      </p:sp>
      <p:grpSp>
        <p:nvGrpSpPr>
          <p:cNvPr id="23" name="Group 22">
            <a:extLst>
              <a:ext uri="{FF2B5EF4-FFF2-40B4-BE49-F238E27FC236}">
                <a16:creationId xmlns:a16="http://schemas.microsoft.com/office/drawing/2014/main" id="{42925B64-52CC-6E48-81E8-773310DA8820}"/>
              </a:ext>
            </a:extLst>
          </p:cNvPr>
          <p:cNvGrpSpPr/>
          <p:nvPr/>
        </p:nvGrpSpPr>
        <p:grpSpPr>
          <a:xfrm>
            <a:off x="5638800" y="1600200"/>
            <a:ext cx="1125499" cy="1125499"/>
            <a:chOff x="4036550" y="2118130"/>
            <a:chExt cx="1125499" cy="1125499"/>
          </a:xfrm>
        </p:grpSpPr>
        <p:grpSp>
          <p:nvGrpSpPr>
            <p:cNvPr id="24" name="Group 23">
              <a:extLst>
                <a:ext uri="{FF2B5EF4-FFF2-40B4-BE49-F238E27FC236}">
                  <a16:creationId xmlns:a16="http://schemas.microsoft.com/office/drawing/2014/main" id="{B5B693AC-23E6-FF4E-95AB-370E138887AB}"/>
                </a:ext>
              </a:extLst>
            </p:cNvPr>
            <p:cNvGrpSpPr>
              <a:grpSpLocks noChangeAspect="1"/>
            </p:cNvGrpSpPr>
            <p:nvPr/>
          </p:nvGrpSpPr>
          <p:grpSpPr>
            <a:xfrm>
              <a:off x="4177317" y="2258897"/>
              <a:ext cx="843965" cy="843965"/>
              <a:chOff x="5273675" y="2606675"/>
              <a:chExt cx="1644650" cy="1644650"/>
            </a:xfrm>
          </p:grpSpPr>
          <p:sp>
            <p:nvSpPr>
              <p:cNvPr id="27" name="AutoShape 3">
                <a:extLst>
                  <a:ext uri="{FF2B5EF4-FFF2-40B4-BE49-F238E27FC236}">
                    <a16:creationId xmlns:a16="http://schemas.microsoft.com/office/drawing/2014/main" id="{9CF627A4-9CA5-214A-9785-239D71A71E4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grpSp>
            <p:nvGrpSpPr>
              <p:cNvPr id="28" name="Group 27">
                <a:extLst>
                  <a:ext uri="{FF2B5EF4-FFF2-40B4-BE49-F238E27FC236}">
                    <a16:creationId xmlns:a16="http://schemas.microsoft.com/office/drawing/2014/main" id="{0C5EE9F5-C098-4C4B-9363-6787DF1AD28D}"/>
                  </a:ext>
                </a:extLst>
              </p:cNvPr>
              <p:cNvGrpSpPr/>
              <p:nvPr/>
            </p:nvGrpSpPr>
            <p:grpSpPr>
              <a:xfrm>
                <a:off x="5627688" y="2776538"/>
                <a:ext cx="933450" cy="1303337"/>
                <a:chOff x="5627688" y="2776538"/>
                <a:chExt cx="933450" cy="1303337"/>
              </a:xfrm>
            </p:grpSpPr>
            <p:sp>
              <p:nvSpPr>
                <p:cNvPr id="29" name="Freeform 12">
                  <a:extLst>
                    <a:ext uri="{FF2B5EF4-FFF2-40B4-BE49-F238E27FC236}">
                      <a16:creationId xmlns:a16="http://schemas.microsoft.com/office/drawing/2014/main" id="{78850615-354E-0B48-9070-32824B3D0A60}"/>
                    </a:ext>
                  </a:extLst>
                </p:cNvPr>
                <p:cNvSpPr>
                  <a:spLocks noEditPoints="1"/>
                </p:cNvSpPr>
                <p:nvPr/>
              </p:nvSpPr>
              <p:spPr bwMode="auto">
                <a:xfrm>
                  <a:off x="5627688" y="2776538"/>
                  <a:ext cx="933450" cy="520700"/>
                </a:xfrm>
                <a:custGeom>
                  <a:avLst/>
                  <a:gdLst>
                    <a:gd name="T0" fmla="*/ 707 w 1307"/>
                    <a:gd name="T1" fmla="*/ 253 h 731"/>
                    <a:gd name="T2" fmla="*/ 874 w 1307"/>
                    <a:gd name="T3" fmla="*/ 253 h 731"/>
                    <a:gd name="T4" fmla="*/ 1016 w 1307"/>
                    <a:gd name="T5" fmla="*/ 693 h 731"/>
                    <a:gd name="T6" fmla="*/ 1003 w 1307"/>
                    <a:gd name="T7" fmla="*/ 731 h 731"/>
                    <a:gd name="T8" fmla="*/ 997 w 1307"/>
                    <a:gd name="T9" fmla="*/ 730 h 731"/>
                    <a:gd name="T10" fmla="*/ 707 w 1307"/>
                    <a:gd name="T11" fmla="*/ 253 h 731"/>
                    <a:gd name="T12" fmla="*/ 1134 w 1307"/>
                    <a:gd name="T13" fmla="*/ 164 h 731"/>
                    <a:gd name="T14" fmla="*/ 1244 w 1307"/>
                    <a:gd name="T15" fmla="*/ 228 h 731"/>
                    <a:gd name="T16" fmla="*/ 1252 w 1307"/>
                    <a:gd name="T17" fmla="*/ 258 h 731"/>
                    <a:gd name="T18" fmla="*/ 1233 w 1307"/>
                    <a:gd name="T19" fmla="*/ 269 h 731"/>
                    <a:gd name="T20" fmla="*/ 1222 w 1307"/>
                    <a:gd name="T21" fmla="*/ 266 h 731"/>
                    <a:gd name="T22" fmla="*/ 1112 w 1307"/>
                    <a:gd name="T23" fmla="*/ 204 h 731"/>
                    <a:gd name="T24" fmla="*/ 1102 w 1307"/>
                    <a:gd name="T25" fmla="*/ 189 h 731"/>
                    <a:gd name="T26" fmla="*/ 1104 w 1307"/>
                    <a:gd name="T27" fmla="*/ 173 h 731"/>
                    <a:gd name="T28" fmla="*/ 1111 w 1307"/>
                    <a:gd name="T29" fmla="*/ 165 h 731"/>
                    <a:gd name="T30" fmla="*/ 1134 w 1307"/>
                    <a:gd name="T31" fmla="*/ 164 h 731"/>
                    <a:gd name="T32" fmla="*/ 1162 w 1307"/>
                    <a:gd name="T33" fmla="*/ 111 h 731"/>
                    <a:gd name="T34" fmla="*/ 1285 w 1307"/>
                    <a:gd name="T35" fmla="*/ 111 h 731"/>
                    <a:gd name="T36" fmla="*/ 1307 w 1307"/>
                    <a:gd name="T37" fmla="*/ 134 h 731"/>
                    <a:gd name="T38" fmla="*/ 1285 w 1307"/>
                    <a:gd name="T39" fmla="*/ 156 h 731"/>
                    <a:gd name="T40" fmla="*/ 1162 w 1307"/>
                    <a:gd name="T41" fmla="*/ 156 h 731"/>
                    <a:gd name="T42" fmla="*/ 1140 w 1307"/>
                    <a:gd name="T43" fmla="*/ 134 h 731"/>
                    <a:gd name="T44" fmla="*/ 1162 w 1307"/>
                    <a:gd name="T45" fmla="*/ 111 h 731"/>
                    <a:gd name="T46" fmla="*/ 950 w 1307"/>
                    <a:gd name="T47" fmla="*/ 40 h 731"/>
                    <a:gd name="T48" fmla="*/ 954 w 1307"/>
                    <a:gd name="T49" fmla="*/ 41 h 731"/>
                    <a:gd name="T50" fmla="*/ 1062 w 1307"/>
                    <a:gd name="T51" fmla="*/ 96 h 731"/>
                    <a:gd name="T52" fmla="*/ 1067 w 1307"/>
                    <a:gd name="T53" fmla="*/ 103 h 731"/>
                    <a:gd name="T54" fmla="*/ 1067 w 1307"/>
                    <a:gd name="T55" fmla="*/ 159 h 731"/>
                    <a:gd name="T56" fmla="*/ 1061 w 1307"/>
                    <a:gd name="T57" fmla="*/ 167 h 731"/>
                    <a:gd name="T58" fmla="*/ 952 w 1307"/>
                    <a:gd name="T59" fmla="*/ 194 h 731"/>
                    <a:gd name="T60" fmla="*/ 950 w 1307"/>
                    <a:gd name="T61" fmla="*/ 194 h 731"/>
                    <a:gd name="T62" fmla="*/ 942 w 1307"/>
                    <a:gd name="T63" fmla="*/ 186 h 731"/>
                    <a:gd name="T64" fmla="*/ 942 w 1307"/>
                    <a:gd name="T65" fmla="*/ 48 h 731"/>
                    <a:gd name="T66" fmla="*/ 950 w 1307"/>
                    <a:gd name="T67" fmla="*/ 40 h 731"/>
                    <a:gd name="T68" fmla="*/ 407 w 1307"/>
                    <a:gd name="T69" fmla="*/ 32 h 731"/>
                    <a:gd name="T70" fmla="*/ 878 w 1307"/>
                    <a:gd name="T71" fmla="*/ 32 h 731"/>
                    <a:gd name="T72" fmla="*/ 898 w 1307"/>
                    <a:gd name="T73" fmla="*/ 52 h 731"/>
                    <a:gd name="T74" fmla="*/ 898 w 1307"/>
                    <a:gd name="T75" fmla="*/ 180 h 731"/>
                    <a:gd name="T76" fmla="*/ 878 w 1307"/>
                    <a:gd name="T77" fmla="*/ 200 h 731"/>
                    <a:gd name="T78" fmla="*/ 679 w 1307"/>
                    <a:gd name="T79" fmla="*/ 200 h 731"/>
                    <a:gd name="T80" fmla="*/ 570 w 1307"/>
                    <a:gd name="T81" fmla="*/ 492 h 731"/>
                    <a:gd name="T82" fmla="*/ 552 w 1307"/>
                    <a:gd name="T83" fmla="*/ 506 h 731"/>
                    <a:gd name="T84" fmla="*/ 269 w 1307"/>
                    <a:gd name="T85" fmla="*/ 506 h 731"/>
                    <a:gd name="T86" fmla="*/ 249 w 1307"/>
                    <a:gd name="T87" fmla="*/ 487 h 731"/>
                    <a:gd name="T88" fmla="*/ 243 w 1307"/>
                    <a:gd name="T89" fmla="*/ 423 h 731"/>
                    <a:gd name="T90" fmla="*/ 223 w 1307"/>
                    <a:gd name="T91" fmla="*/ 404 h 731"/>
                    <a:gd name="T92" fmla="*/ 48 w 1307"/>
                    <a:gd name="T93" fmla="*/ 404 h 731"/>
                    <a:gd name="T94" fmla="*/ 23 w 1307"/>
                    <a:gd name="T95" fmla="*/ 342 h 731"/>
                    <a:gd name="T96" fmla="*/ 282 w 1307"/>
                    <a:gd name="T97" fmla="*/ 83 h 731"/>
                    <a:gd name="T98" fmla="*/ 407 w 1307"/>
                    <a:gd name="T99" fmla="*/ 32 h 731"/>
                    <a:gd name="T100" fmla="*/ 1239 w 1307"/>
                    <a:gd name="T101" fmla="*/ 2 h 731"/>
                    <a:gd name="T102" fmla="*/ 1252 w 1307"/>
                    <a:gd name="T103" fmla="*/ 12 h 731"/>
                    <a:gd name="T104" fmla="*/ 1243 w 1307"/>
                    <a:gd name="T105" fmla="*/ 42 h 731"/>
                    <a:gd name="T106" fmla="*/ 1134 w 1307"/>
                    <a:gd name="T107" fmla="*/ 104 h 731"/>
                    <a:gd name="T108" fmla="*/ 1123 w 1307"/>
                    <a:gd name="T109" fmla="*/ 107 h 731"/>
                    <a:gd name="T110" fmla="*/ 1112 w 1307"/>
                    <a:gd name="T111" fmla="*/ 104 h 731"/>
                    <a:gd name="T112" fmla="*/ 1104 w 1307"/>
                    <a:gd name="T113" fmla="*/ 95 h 731"/>
                    <a:gd name="T114" fmla="*/ 1103 w 1307"/>
                    <a:gd name="T115" fmla="*/ 75 h 731"/>
                    <a:gd name="T116" fmla="*/ 1112 w 1307"/>
                    <a:gd name="T117" fmla="*/ 65 h 731"/>
                    <a:gd name="T118" fmla="*/ 1222 w 1307"/>
                    <a:gd name="T119" fmla="*/ 3 h 731"/>
                    <a:gd name="T120" fmla="*/ 1239 w 1307"/>
                    <a:gd name="T121" fmla="*/ 2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7" h="731">
                      <a:moveTo>
                        <a:pt x="707" y="253"/>
                      </a:moveTo>
                      <a:cubicBezTo>
                        <a:pt x="874" y="253"/>
                        <a:pt x="874" y="253"/>
                        <a:pt x="874" y="253"/>
                      </a:cubicBezTo>
                      <a:cubicBezTo>
                        <a:pt x="874" y="253"/>
                        <a:pt x="862" y="473"/>
                        <a:pt x="1016" y="693"/>
                      </a:cubicBezTo>
                      <a:cubicBezTo>
                        <a:pt x="1027" y="708"/>
                        <a:pt x="1018" y="731"/>
                        <a:pt x="1003" y="731"/>
                      </a:cubicBezTo>
                      <a:cubicBezTo>
                        <a:pt x="1001" y="731"/>
                        <a:pt x="999" y="731"/>
                        <a:pt x="997" y="730"/>
                      </a:cubicBezTo>
                      <a:cubicBezTo>
                        <a:pt x="918" y="693"/>
                        <a:pt x="785" y="582"/>
                        <a:pt x="707" y="253"/>
                      </a:cubicBezTo>
                      <a:close/>
                      <a:moveTo>
                        <a:pt x="1134" y="164"/>
                      </a:moveTo>
                      <a:cubicBezTo>
                        <a:pt x="1244" y="228"/>
                        <a:pt x="1244" y="228"/>
                        <a:pt x="1244" y="228"/>
                      </a:cubicBezTo>
                      <a:cubicBezTo>
                        <a:pt x="1254" y="234"/>
                        <a:pt x="1258" y="248"/>
                        <a:pt x="1252" y="258"/>
                      </a:cubicBezTo>
                      <a:cubicBezTo>
                        <a:pt x="1248" y="265"/>
                        <a:pt x="1241" y="269"/>
                        <a:pt x="1233" y="269"/>
                      </a:cubicBezTo>
                      <a:cubicBezTo>
                        <a:pt x="1229" y="269"/>
                        <a:pt x="1226" y="268"/>
                        <a:pt x="1222" y="266"/>
                      </a:cubicBezTo>
                      <a:cubicBezTo>
                        <a:pt x="1112" y="204"/>
                        <a:pt x="1112" y="204"/>
                        <a:pt x="1112" y="204"/>
                      </a:cubicBezTo>
                      <a:cubicBezTo>
                        <a:pt x="1107" y="201"/>
                        <a:pt x="1103" y="196"/>
                        <a:pt x="1102" y="189"/>
                      </a:cubicBezTo>
                      <a:cubicBezTo>
                        <a:pt x="1100" y="184"/>
                        <a:pt x="1101" y="178"/>
                        <a:pt x="1104" y="173"/>
                      </a:cubicBezTo>
                      <a:cubicBezTo>
                        <a:pt x="1106" y="169"/>
                        <a:pt x="1108" y="167"/>
                        <a:pt x="1111" y="165"/>
                      </a:cubicBezTo>
                      <a:cubicBezTo>
                        <a:pt x="1118" y="161"/>
                        <a:pt x="1126" y="160"/>
                        <a:pt x="1134" y="164"/>
                      </a:cubicBezTo>
                      <a:close/>
                      <a:moveTo>
                        <a:pt x="1162" y="111"/>
                      </a:moveTo>
                      <a:cubicBezTo>
                        <a:pt x="1285" y="111"/>
                        <a:pt x="1285" y="111"/>
                        <a:pt x="1285" y="111"/>
                      </a:cubicBezTo>
                      <a:cubicBezTo>
                        <a:pt x="1297" y="111"/>
                        <a:pt x="1307" y="122"/>
                        <a:pt x="1307" y="134"/>
                      </a:cubicBezTo>
                      <a:cubicBezTo>
                        <a:pt x="1307" y="146"/>
                        <a:pt x="1297" y="156"/>
                        <a:pt x="1285" y="156"/>
                      </a:cubicBezTo>
                      <a:cubicBezTo>
                        <a:pt x="1162" y="156"/>
                        <a:pt x="1162" y="156"/>
                        <a:pt x="1162" y="156"/>
                      </a:cubicBezTo>
                      <a:cubicBezTo>
                        <a:pt x="1150" y="156"/>
                        <a:pt x="1140" y="146"/>
                        <a:pt x="1140" y="134"/>
                      </a:cubicBezTo>
                      <a:cubicBezTo>
                        <a:pt x="1140" y="121"/>
                        <a:pt x="1150" y="111"/>
                        <a:pt x="1162" y="111"/>
                      </a:cubicBezTo>
                      <a:close/>
                      <a:moveTo>
                        <a:pt x="950" y="40"/>
                      </a:moveTo>
                      <a:cubicBezTo>
                        <a:pt x="951" y="40"/>
                        <a:pt x="953" y="40"/>
                        <a:pt x="954" y="41"/>
                      </a:cubicBezTo>
                      <a:cubicBezTo>
                        <a:pt x="1062" y="96"/>
                        <a:pt x="1062" y="96"/>
                        <a:pt x="1062" y="96"/>
                      </a:cubicBezTo>
                      <a:cubicBezTo>
                        <a:pt x="1065" y="97"/>
                        <a:pt x="1067" y="100"/>
                        <a:pt x="1067" y="103"/>
                      </a:cubicBezTo>
                      <a:cubicBezTo>
                        <a:pt x="1067" y="159"/>
                        <a:pt x="1067" y="159"/>
                        <a:pt x="1067" y="159"/>
                      </a:cubicBezTo>
                      <a:cubicBezTo>
                        <a:pt x="1067" y="163"/>
                        <a:pt x="1064" y="166"/>
                        <a:pt x="1061" y="167"/>
                      </a:cubicBezTo>
                      <a:cubicBezTo>
                        <a:pt x="952" y="194"/>
                        <a:pt x="952" y="194"/>
                        <a:pt x="952" y="194"/>
                      </a:cubicBezTo>
                      <a:cubicBezTo>
                        <a:pt x="951" y="194"/>
                        <a:pt x="951" y="194"/>
                        <a:pt x="950" y="194"/>
                      </a:cubicBezTo>
                      <a:cubicBezTo>
                        <a:pt x="946" y="194"/>
                        <a:pt x="942" y="191"/>
                        <a:pt x="942" y="186"/>
                      </a:cubicBezTo>
                      <a:cubicBezTo>
                        <a:pt x="942" y="48"/>
                        <a:pt x="942" y="48"/>
                        <a:pt x="942" y="48"/>
                      </a:cubicBezTo>
                      <a:cubicBezTo>
                        <a:pt x="942" y="43"/>
                        <a:pt x="946" y="40"/>
                        <a:pt x="950" y="40"/>
                      </a:cubicBezTo>
                      <a:close/>
                      <a:moveTo>
                        <a:pt x="407" y="32"/>
                      </a:moveTo>
                      <a:cubicBezTo>
                        <a:pt x="878" y="32"/>
                        <a:pt x="878" y="32"/>
                        <a:pt x="878" y="32"/>
                      </a:cubicBezTo>
                      <a:cubicBezTo>
                        <a:pt x="889" y="32"/>
                        <a:pt x="898" y="41"/>
                        <a:pt x="898" y="52"/>
                      </a:cubicBezTo>
                      <a:cubicBezTo>
                        <a:pt x="898" y="180"/>
                        <a:pt x="898" y="180"/>
                        <a:pt x="898" y="180"/>
                      </a:cubicBezTo>
                      <a:cubicBezTo>
                        <a:pt x="898" y="191"/>
                        <a:pt x="889" y="200"/>
                        <a:pt x="878" y="200"/>
                      </a:cubicBezTo>
                      <a:cubicBezTo>
                        <a:pt x="679" y="200"/>
                        <a:pt x="679" y="200"/>
                        <a:pt x="679" y="200"/>
                      </a:cubicBezTo>
                      <a:cubicBezTo>
                        <a:pt x="570" y="492"/>
                        <a:pt x="570" y="492"/>
                        <a:pt x="570" y="492"/>
                      </a:cubicBezTo>
                      <a:cubicBezTo>
                        <a:pt x="568" y="500"/>
                        <a:pt x="560" y="506"/>
                        <a:pt x="552" y="506"/>
                      </a:cubicBezTo>
                      <a:cubicBezTo>
                        <a:pt x="269" y="506"/>
                        <a:pt x="269" y="506"/>
                        <a:pt x="269" y="506"/>
                      </a:cubicBezTo>
                      <a:cubicBezTo>
                        <a:pt x="258" y="506"/>
                        <a:pt x="250" y="498"/>
                        <a:pt x="249" y="487"/>
                      </a:cubicBezTo>
                      <a:cubicBezTo>
                        <a:pt x="243" y="423"/>
                        <a:pt x="243" y="423"/>
                        <a:pt x="243" y="423"/>
                      </a:cubicBezTo>
                      <a:cubicBezTo>
                        <a:pt x="243" y="412"/>
                        <a:pt x="234" y="404"/>
                        <a:pt x="223" y="404"/>
                      </a:cubicBezTo>
                      <a:cubicBezTo>
                        <a:pt x="48" y="404"/>
                        <a:pt x="48" y="404"/>
                        <a:pt x="48" y="404"/>
                      </a:cubicBezTo>
                      <a:cubicBezTo>
                        <a:pt x="16" y="404"/>
                        <a:pt x="0" y="365"/>
                        <a:pt x="23" y="342"/>
                      </a:cubicBezTo>
                      <a:cubicBezTo>
                        <a:pt x="282" y="83"/>
                        <a:pt x="282" y="83"/>
                        <a:pt x="282" y="83"/>
                      </a:cubicBezTo>
                      <a:cubicBezTo>
                        <a:pt x="316" y="51"/>
                        <a:pt x="360" y="32"/>
                        <a:pt x="407" y="32"/>
                      </a:cubicBezTo>
                      <a:close/>
                      <a:moveTo>
                        <a:pt x="1239" y="2"/>
                      </a:moveTo>
                      <a:cubicBezTo>
                        <a:pt x="1244" y="3"/>
                        <a:pt x="1249" y="7"/>
                        <a:pt x="1252" y="12"/>
                      </a:cubicBezTo>
                      <a:cubicBezTo>
                        <a:pt x="1258" y="23"/>
                        <a:pt x="1254" y="36"/>
                        <a:pt x="1243" y="42"/>
                      </a:cubicBezTo>
                      <a:cubicBezTo>
                        <a:pt x="1134" y="104"/>
                        <a:pt x="1134" y="104"/>
                        <a:pt x="1134" y="104"/>
                      </a:cubicBezTo>
                      <a:cubicBezTo>
                        <a:pt x="1130" y="106"/>
                        <a:pt x="1127" y="107"/>
                        <a:pt x="1123" y="107"/>
                      </a:cubicBezTo>
                      <a:cubicBezTo>
                        <a:pt x="1119" y="107"/>
                        <a:pt x="1115" y="106"/>
                        <a:pt x="1112" y="104"/>
                      </a:cubicBezTo>
                      <a:cubicBezTo>
                        <a:pt x="1109" y="102"/>
                        <a:pt x="1106" y="99"/>
                        <a:pt x="1104" y="95"/>
                      </a:cubicBezTo>
                      <a:cubicBezTo>
                        <a:pt x="1100" y="89"/>
                        <a:pt x="1100" y="81"/>
                        <a:pt x="1103" y="75"/>
                      </a:cubicBezTo>
                      <a:cubicBezTo>
                        <a:pt x="1105" y="71"/>
                        <a:pt x="1108" y="68"/>
                        <a:pt x="1112" y="65"/>
                      </a:cubicBezTo>
                      <a:cubicBezTo>
                        <a:pt x="1222" y="3"/>
                        <a:pt x="1222" y="3"/>
                        <a:pt x="1222" y="3"/>
                      </a:cubicBezTo>
                      <a:cubicBezTo>
                        <a:pt x="1228" y="1"/>
                        <a:pt x="1234" y="0"/>
                        <a:pt x="1239" y="2"/>
                      </a:cubicBezTo>
                      <a:close/>
                    </a:path>
                  </a:pathLst>
                </a:custGeom>
                <a:solidFill>
                  <a:srgbClr val="05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sp>
              <p:nvSpPr>
                <p:cNvPr id="30" name="Freeform 13">
                  <a:extLst>
                    <a:ext uri="{FF2B5EF4-FFF2-40B4-BE49-F238E27FC236}">
                      <a16:creationId xmlns:a16="http://schemas.microsoft.com/office/drawing/2014/main" id="{D824F521-6334-2D43-A490-50982C5C1C8D}"/>
                    </a:ext>
                  </a:extLst>
                </p:cNvPr>
                <p:cNvSpPr>
                  <a:spLocks noEditPoints="1"/>
                </p:cNvSpPr>
                <p:nvPr/>
              </p:nvSpPr>
              <p:spPr bwMode="auto">
                <a:xfrm>
                  <a:off x="5629275" y="3168650"/>
                  <a:ext cx="576263" cy="911225"/>
                </a:xfrm>
                <a:custGeom>
                  <a:avLst/>
                  <a:gdLst>
                    <a:gd name="T0" fmla="*/ 806 w 807"/>
                    <a:gd name="T1" fmla="*/ 902 h 1276"/>
                    <a:gd name="T2" fmla="*/ 804 w 807"/>
                    <a:gd name="T3" fmla="*/ 872 h 1276"/>
                    <a:gd name="T4" fmla="*/ 803 w 807"/>
                    <a:gd name="T5" fmla="*/ 848 h 1276"/>
                    <a:gd name="T6" fmla="*/ 800 w 807"/>
                    <a:gd name="T7" fmla="*/ 811 h 1276"/>
                    <a:gd name="T8" fmla="*/ 798 w 807"/>
                    <a:gd name="T9" fmla="*/ 782 h 1276"/>
                    <a:gd name="T10" fmla="*/ 794 w 807"/>
                    <a:gd name="T11" fmla="*/ 753 h 1276"/>
                    <a:gd name="T12" fmla="*/ 791 w 807"/>
                    <a:gd name="T13" fmla="*/ 725 h 1276"/>
                    <a:gd name="T14" fmla="*/ 788 w 807"/>
                    <a:gd name="T15" fmla="*/ 704 h 1276"/>
                    <a:gd name="T16" fmla="*/ 787 w 807"/>
                    <a:gd name="T17" fmla="*/ 696 h 1276"/>
                    <a:gd name="T18" fmla="*/ 591 w 807"/>
                    <a:gd name="T19" fmla="*/ 14 h 1276"/>
                    <a:gd name="T20" fmla="*/ 236 w 807"/>
                    <a:gd name="T21" fmla="*/ 0 h 1276"/>
                    <a:gd name="T22" fmla="*/ 85 w 807"/>
                    <a:gd name="T23" fmla="*/ 379 h 1276"/>
                    <a:gd name="T24" fmla="*/ 71 w 807"/>
                    <a:gd name="T25" fmla="*/ 430 h 1276"/>
                    <a:gd name="T26" fmla="*/ 64 w 807"/>
                    <a:gd name="T27" fmla="*/ 461 h 1276"/>
                    <a:gd name="T28" fmla="*/ 57 w 807"/>
                    <a:gd name="T29" fmla="*/ 492 h 1276"/>
                    <a:gd name="T30" fmla="*/ 47 w 807"/>
                    <a:gd name="T31" fmla="*/ 537 h 1276"/>
                    <a:gd name="T32" fmla="*/ 39 w 807"/>
                    <a:gd name="T33" fmla="*/ 578 h 1276"/>
                    <a:gd name="T34" fmla="*/ 31 w 807"/>
                    <a:gd name="T35" fmla="*/ 621 h 1276"/>
                    <a:gd name="T36" fmla="*/ 23 w 807"/>
                    <a:gd name="T37" fmla="*/ 672 h 1276"/>
                    <a:gd name="T38" fmla="*/ 20 w 807"/>
                    <a:gd name="T39" fmla="*/ 693 h 1276"/>
                    <a:gd name="T40" fmla="*/ 16 w 807"/>
                    <a:gd name="T41" fmla="*/ 721 h 1276"/>
                    <a:gd name="T42" fmla="*/ 12 w 807"/>
                    <a:gd name="T43" fmla="*/ 758 h 1276"/>
                    <a:gd name="T44" fmla="*/ 9 w 807"/>
                    <a:gd name="T45" fmla="*/ 791 h 1276"/>
                    <a:gd name="T46" fmla="*/ 8 w 807"/>
                    <a:gd name="T47" fmla="*/ 796 h 1276"/>
                    <a:gd name="T48" fmla="*/ 3 w 807"/>
                    <a:gd name="T49" fmla="*/ 860 h 1276"/>
                    <a:gd name="T50" fmla="*/ 3 w 807"/>
                    <a:gd name="T51" fmla="*/ 866 h 1276"/>
                    <a:gd name="T52" fmla="*/ 1 w 807"/>
                    <a:gd name="T53" fmla="*/ 900 h 1276"/>
                    <a:gd name="T54" fmla="*/ 0 w 807"/>
                    <a:gd name="T55" fmla="*/ 947 h 1276"/>
                    <a:gd name="T56" fmla="*/ 0 w 807"/>
                    <a:gd name="T57" fmla="*/ 969 h 1276"/>
                    <a:gd name="T58" fmla="*/ 1 w 807"/>
                    <a:gd name="T59" fmla="*/ 996 h 1276"/>
                    <a:gd name="T60" fmla="*/ 7 w 807"/>
                    <a:gd name="T61" fmla="*/ 1023 h 1276"/>
                    <a:gd name="T62" fmla="*/ 120 w 807"/>
                    <a:gd name="T63" fmla="*/ 1197 h 1276"/>
                    <a:gd name="T64" fmla="*/ 137 w 807"/>
                    <a:gd name="T65" fmla="*/ 1217 h 1276"/>
                    <a:gd name="T66" fmla="*/ 157 w 807"/>
                    <a:gd name="T67" fmla="*/ 1238 h 1276"/>
                    <a:gd name="T68" fmla="*/ 186 w 807"/>
                    <a:gd name="T69" fmla="*/ 1259 h 1276"/>
                    <a:gd name="T70" fmla="*/ 192 w 807"/>
                    <a:gd name="T71" fmla="*/ 1263 h 1276"/>
                    <a:gd name="T72" fmla="*/ 203 w 807"/>
                    <a:gd name="T73" fmla="*/ 1269 h 1276"/>
                    <a:gd name="T74" fmla="*/ 211 w 807"/>
                    <a:gd name="T75" fmla="*/ 1273 h 1276"/>
                    <a:gd name="T76" fmla="*/ 221 w 807"/>
                    <a:gd name="T77" fmla="*/ 1276 h 1276"/>
                    <a:gd name="T78" fmla="*/ 588 w 807"/>
                    <a:gd name="T79" fmla="*/ 1276 h 1276"/>
                    <a:gd name="T80" fmla="*/ 596 w 807"/>
                    <a:gd name="T81" fmla="*/ 1273 h 1276"/>
                    <a:gd name="T82" fmla="*/ 613 w 807"/>
                    <a:gd name="T83" fmla="*/ 1264 h 1276"/>
                    <a:gd name="T84" fmla="*/ 624 w 807"/>
                    <a:gd name="T85" fmla="*/ 1257 h 1276"/>
                    <a:gd name="T86" fmla="*/ 635 w 807"/>
                    <a:gd name="T87" fmla="*/ 1249 h 1276"/>
                    <a:gd name="T88" fmla="*/ 641 w 807"/>
                    <a:gd name="T89" fmla="*/ 1245 h 1276"/>
                    <a:gd name="T90" fmla="*/ 653 w 807"/>
                    <a:gd name="T91" fmla="*/ 1233 h 1276"/>
                    <a:gd name="T92" fmla="*/ 668 w 807"/>
                    <a:gd name="T93" fmla="*/ 1218 h 1276"/>
                    <a:gd name="T94" fmla="*/ 687 w 807"/>
                    <a:gd name="T95" fmla="*/ 1197 h 1276"/>
                    <a:gd name="T96" fmla="*/ 769 w 807"/>
                    <a:gd name="T97" fmla="*/ 1080 h 1276"/>
                    <a:gd name="T98" fmla="*/ 803 w 807"/>
                    <a:gd name="T99" fmla="*/ 1017 h 1276"/>
                    <a:gd name="T100" fmla="*/ 807 w 807"/>
                    <a:gd name="T101" fmla="*/ 983 h 1276"/>
                    <a:gd name="T102" fmla="*/ 807 w 807"/>
                    <a:gd name="T103" fmla="*/ 976 h 1276"/>
                    <a:gd name="T104" fmla="*/ 807 w 807"/>
                    <a:gd name="T105" fmla="*/ 950 h 1276"/>
                    <a:gd name="T106" fmla="*/ 806 w 807"/>
                    <a:gd name="T107" fmla="*/ 931 h 1276"/>
                    <a:gd name="T108" fmla="*/ 241 w 807"/>
                    <a:gd name="T109" fmla="*/ 313 h 1276"/>
                    <a:gd name="T110" fmla="*/ 325 w 807"/>
                    <a:gd name="T111" fmla="*/ 44 h 1276"/>
                    <a:gd name="T112" fmla="*/ 498 w 807"/>
                    <a:gd name="T113" fmla="*/ 44 h 1276"/>
                    <a:gd name="T114" fmla="*/ 456 w 807"/>
                    <a:gd name="T115" fmla="*/ 406 h 1276"/>
                    <a:gd name="T116" fmla="*/ 352 w 807"/>
                    <a:gd name="T117" fmla="*/ 357 h 1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7" h="1276">
                      <a:moveTo>
                        <a:pt x="806" y="931"/>
                      </a:moveTo>
                      <a:cubicBezTo>
                        <a:pt x="806" y="924"/>
                        <a:pt x="806" y="916"/>
                        <a:pt x="806" y="909"/>
                      </a:cubicBezTo>
                      <a:cubicBezTo>
                        <a:pt x="806" y="907"/>
                        <a:pt x="806" y="904"/>
                        <a:pt x="806" y="902"/>
                      </a:cubicBezTo>
                      <a:cubicBezTo>
                        <a:pt x="806" y="900"/>
                        <a:pt x="806" y="899"/>
                        <a:pt x="806" y="898"/>
                      </a:cubicBezTo>
                      <a:cubicBezTo>
                        <a:pt x="806" y="898"/>
                        <a:pt x="806" y="898"/>
                        <a:pt x="806" y="897"/>
                      </a:cubicBezTo>
                      <a:cubicBezTo>
                        <a:pt x="805" y="889"/>
                        <a:pt x="805" y="880"/>
                        <a:pt x="804" y="872"/>
                      </a:cubicBezTo>
                      <a:cubicBezTo>
                        <a:pt x="804" y="871"/>
                        <a:pt x="804" y="871"/>
                        <a:pt x="804" y="871"/>
                      </a:cubicBezTo>
                      <a:cubicBezTo>
                        <a:pt x="804" y="870"/>
                        <a:pt x="804" y="869"/>
                        <a:pt x="804" y="868"/>
                      </a:cubicBezTo>
                      <a:cubicBezTo>
                        <a:pt x="804" y="861"/>
                        <a:pt x="804" y="855"/>
                        <a:pt x="803" y="848"/>
                      </a:cubicBezTo>
                      <a:cubicBezTo>
                        <a:pt x="803" y="848"/>
                        <a:pt x="803" y="848"/>
                        <a:pt x="803" y="847"/>
                      </a:cubicBezTo>
                      <a:cubicBezTo>
                        <a:pt x="802" y="837"/>
                        <a:pt x="801" y="825"/>
                        <a:pt x="800" y="814"/>
                      </a:cubicBezTo>
                      <a:cubicBezTo>
                        <a:pt x="800" y="813"/>
                        <a:pt x="800" y="812"/>
                        <a:pt x="800" y="811"/>
                      </a:cubicBezTo>
                      <a:cubicBezTo>
                        <a:pt x="800" y="807"/>
                        <a:pt x="800" y="803"/>
                        <a:pt x="799" y="799"/>
                      </a:cubicBezTo>
                      <a:cubicBezTo>
                        <a:pt x="799" y="795"/>
                        <a:pt x="798" y="791"/>
                        <a:pt x="798" y="787"/>
                      </a:cubicBezTo>
                      <a:cubicBezTo>
                        <a:pt x="798" y="786"/>
                        <a:pt x="798" y="784"/>
                        <a:pt x="798" y="782"/>
                      </a:cubicBezTo>
                      <a:cubicBezTo>
                        <a:pt x="797" y="780"/>
                        <a:pt x="797" y="778"/>
                        <a:pt x="797" y="775"/>
                      </a:cubicBezTo>
                      <a:cubicBezTo>
                        <a:pt x="796" y="771"/>
                        <a:pt x="796" y="767"/>
                        <a:pt x="796" y="763"/>
                      </a:cubicBezTo>
                      <a:cubicBezTo>
                        <a:pt x="795" y="760"/>
                        <a:pt x="795" y="757"/>
                        <a:pt x="794" y="753"/>
                      </a:cubicBezTo>
                      <a:cubicBezTo>
                        <a:pt x="794" y="753"/>
                        <a:pt x="794" y="752"/>
                        <a:pt x="794" y="751"/>
                      </a:cubicBezTo>
                      <a:cubicBezTo>
                        <a:pt x="793" y="744"/>
                        <a:pt x="793" y="737"/>
                        <a:pt x="792" y="730"/>
                      </a:cubicBezTo>
                      <a:cubicBezTo>
                        <a:pt x="791" y="728"/>
                        <a:pt x="791" y="726"/>
                        <a:pt x="791" y="725"/>
                      </a:cubicBezTo>
                      <a:cubicBezTo>
                        <a:pt x="791" y="724"/>
                        <a:pt x="791" y="724"/>
                        <a:pt x="791" y="724"/>
                      </a:cubicBezTo>
                      <a:cubicBezTo>
                        <a:pt x="790" y="718"/>
                        <a:pt x="790" y="713"/>
                        <a:pt x="789" y="708"/>
                      </a:cubicBezTo>
                      <a:cubicBezTo>
                        <a:pt x="789" y="707"/>
                        <a:pt x="788" y="705"/>
                        <a:pt x="788" y="704"/>
                      </a:cubicBezTo>
                      <a:cubicBezTo>
                        <a:pt x="788" y="702"/>
                        <a:pt x="788" y="701"/>
                        <a:pt x="788" y="699"/>
                      </a:cubicBezTo>
                      <a:cubicBezTo>
                        <a:pt x="788" y="698"/>
                        <a:pt x="787" y="698"/>
                        <a:pt x="787" y="697"/>
                      </a:cubicBezTo>
                      <a:cubicBezTo>
                        <a:pt x="787" y="697"/>
                        <a:pt x="787" y="697"/>
                        <a:pt x="787" y="696"/>
                      </a:cubicBezTo>
                      <a:cubicBezTo>
                        <a:pt x="786" y="689"/>
                        <a:pt x="785" y="681"/>
                        <a:pt x="784" y="673"/>
                      </a:cubicBezTo>
                      <a:cubicBezTo>
                        <a:pt x="784" y="672"/>
                        <a:pt x="784" y="672"/>
                        <a:pt x="784" y="671"/>
                      </a:cubicBezTo>
                      <a:cubicBezTo>
                        <a:pt x="750" y="443"/>
                        <a:pt x="686" y="224"/>
                        <a:pt x="591" y="14"/>
                      </a:cubicBezTo>
                      <a:cubicBezTo>
                        <a:pt x="591" y="13"/>
                        <a:pt x="591" y="13"/>
                        <a:pt x="590" y="13"/>
                      </a:cubicBezTo>
                      <a:cubicBezTo>
                        <a:pt x="587" y="5"/>
                        <a:pt x="579" y="0"/>
                        <a:pt x="570" y="0"/>
                      </a:cubicBezTo>
                      <a:cubicBezTo>
                        <a:pt x="512" y="0"/>
                        <a:pt x="287" y="0"/>
                        <a:pt x="236" y="0"/>
                      </a:cubicBezTo>
                      <a:cubicBezTo>
                        <a:pt x="228" y="0"/>
                        <a:pt x="220" y="5"/>
                        <a:pt x="217" y="12"/>
                      </a:cubicBezTo>
                      <a:cubicBezTo>
                        <a:pt x="167" y="123"/>
                        <a:pt x="125" y="236"/>
                        <a:pt x="92" y="352"/>
                      </a:cubicBezTo>
                      <a:cubicBezTo>
                        <a:pt x="90" y="361"/>
                        <a:pt x="87" y="370"/>
                        <a:pt x="85" y="379"/>
                      </a:cubicBezTo>
                      <a:cubicBezTo>
                        <a:pt x="83" y="386"/>
                        <a:pt x="81" y="394"/>
                        <a:pt x="79" y="402"/>
                      </a:cubicBezTo>
                      <a:cubicBezTo>
                        <a:pt x="78" y="402"/>
                        <a:pt x="78" y="403"/>
                        <a:pt x="78" y="404"/>
                      </a:cubicBezTo>
                      <a:cubicBezTo>
                        <a:pt x="76" y="413"/>
                        <a:pt x="74" y="421"/>
                        <a:pt x="71" y="430"/>
                      </a:cubicBezTo>
                      <a:cubicBezTo>
                        <a:pt x="69" y="438"/>
                        <a:pt x="68" y="445"/>
                        <a:pt x="66" y="453"/>
                      </a:cubicBezTo>
                      <a:cubicBezTo>
                        <a:pt x="66" y="454"/>
                        <a:pt x="66" y="454"/>
                        <a:pt x="65" y="454"/>
                      </a:cubicBezTo>
                      <a:cubicBezTo>
                        <a:pt x="65" y="456"/>
                        <a:pt x="64" y="459"/>
                        <a:pt x="64" y="461"/>
                      </a:cubicBezTo>
                      <a:cubicBezTo>
                        <a:pt x="63" y="465"/>
                        <a:pt x="62" y="468"/>
                        <a:pt x="61" y="472"/>
                      </a:cubicBezTo>
                      <a:cubicBezTo>
                        <a:pt x="60" y="477"/>
                        <a:pt x="59" y="482"/>
                        <a:pt x="58" y="486"/>
                      </a:cubicBezTo>
                      <a:cubicBezTo>
                        <a:pt x="57" y="488"/>
                        <a:pt x="57" y="490"/>
                        <a:pt x="57" y="492"/>
                      </a:cubicBezTo>
                      <a:cubicBezTo>
                        <a:pt x="56" y="493"/>
                        <a:pt x="56" y="494"/>
                        <a:pt x="56" y="495"/>
                      </a:cubicBezTo>
                      <a:cubicBezTo>
                        <a:pt x="53" y="508"/>
                        <a:pt x="50" y="522"/>
                        <a:pt x="47" y="535"/>
                      </a:cubicBezTo>
                      <a:cubicBezTo>
                        <a:pt x="47" y="536"/>
                        <a:pt x="47" y="536"/>
                        <a:pt x="47" y="537"/>
                      </a:cubicBezTo>
                      <a:cubicBezTo>
                        <a:pt x="46" y="541"/>
                        <a:pt x="45" y="546"/>
                        <a:pt x="44" y="550"/>
                      </a:cubicBezTo>
                      <a:cubicBezTo>
                        <a:pt x="43" y="558"/>
                        <a:pt x="41" y="566"/>
                        <a:pt x="40" y="573"/>
                      </a:cubicBezTo>
                      <a:cubicBezTo>
                        <a:pt x="40" y="575"/>
                        <a:pt x="39" y="577"/>
                        <a:pt x="39" y="578"/>
                      </a:cubicBezTo>
                      <a:cubicBezTo>
                        <a:pt x="38" y="581"/>
                        <a:pt x="38" y="583"/>
                        <a:pt x="38" y="586"/>
                      </a:cubicBezTo>
                      <a:cubicBezTo>
                        <a:pt x="35" y="597"/>
                        <a:pt x="33" y="608"/>
                        <a:pt x="32" y="620"/>
                      </a:cubicBezTo>
                      <a:cubicBezTo>
                        <a:pt x="31" y="620"/>
                        <a:pt x="31" y="621"/>
                        <a:pt x="31" y="621"/>
                      </a:cubicBezTo>
                      <a:cubicBezTo>
                        <a:pt x="30" y="631"/>
                        <a:pt x="28" y="641"/>
                        <a:pt x="26" y="650"/>
                      </a:cubicBezTo>
                      <a:cubicBezTo>
                        <a:pt x="26" y="653"/>
                        <a:pt x="26" y="656"/>
                        <a:pt x="25" y="658"/>
                      </a:cubicBezTo>
                      <a:cubicBezTo>
                        <a:pt x="25" y="663"/>
                        <a:pt x="24" y="668"/>
                        <a:pt x="23" y="672"/>
                      </a:cubicBezTo>
                      <a:cubicBezTo>
                        <a:pt x="22" y="678"/>
                        <a:pt x="22" y="683"/>
                        <a:pt x="21" y="688"/>
                      </a:cubicBezTo>
                      <a:cubicBezTo>
                        <a:pt x="21" y="689"/>
                        <a:pt x="21" y="689"/>
                        <a:pt x="21" y="689"/>
                      </a:cubicBezTo>
                      <a:cubicBezTo>
                        <a:pt x="20" y="691"/>
                        <a:pt x="20" y="692"/>
                        <a:pt x="20" y="693"/>
                      </a:cubicBezTo>
                      <a:cubicBezTo>
                        <a:pt x="20" y="697"/>
                        <a:pt x="19" y="701"/>
                        <a:pt x="18" y="705"/>
                      </a:cubicBezTo>
                      <a:cubicBezTo>
                        <a:pt x="18" y="709"/>
                        <a:pt x="18" y="712"/>
                        <a:pt x="17" y="716"/>
                      </a:cubicBezTo>
                      <a:cubicBezTo>
                        <a:pt x="17" y="717"/>
                        <a:pt x="17" y="719"/>
                        <a:pt x="16" y="721"/>
                      </a:cubicBezTo>
                      <a:cubicBezTo>
                        <a:pt x="16" y="727"/>
                        <a:pt x="16" y="727"/>
                        <a:pt x="16" y="727"/>
                      </a:cubicBezTo>
                      <a:cubicBezTo>
                        <a:pt x="15" y="736"/>
                        <a:pt x="13" y="745"/>
                        <a:pt x="12" y="754"/>
                      </a:cubicBezTo>
                      <a:cubicBezTo>
                        <a:pt x="12" y="756"/>
                        <a:pt x="12" y="757"/>
                        <a:pt x="12" y="758"/>
                      </a:cubicBezTo>
                      <a:cubicBezTo>
                        <a:pt x="12" y="760"/>
                        <a:pt x="12" y="761"/>
                        <a:pt x="12" y="762"/>
                      </a:cubicBezTo>
                      <a:cubicBezTo>
                        <a:pt x="11" y="770"/>
                        <a:pt x="10" y="779"/>
                        <a:pt x="9" y="787"/>
                      </a:cubicBezTo>
                      <a:cubicBezTo>
                        <a:pt x="9" y="788"/>
                        <a:pt x="9" y="790"/>
                        <a:pt x="9" y="791"/>
                      </a:cubicBezTo>
                      <a:cubicBezTo>
                        <a:pt x="9" y="791"/>
                        <a:pt x="9" y="791"/>
                        <a:pt x="9" y="792"/>
                      </a:cubicBezTo>
                      <a:cubicBezTo>
                        <a:pt x="8" y="793"/>
                        <a:pt x="8" y="794"/>
                        <a:pt x="8" y="795"/>
                      </a:cubicBezTo>
                      <a:cubicBezTo>
                        <a:pt x="8" y="796"/>
                        <a:pt x="8" y="796"/>
                        <a:pt x="8" y="796"/>
                      </a:cubicBezTo>
                      <a:cubicBezTo>
                        <a:pt x="8" y="803"/>
                        <a:pt x="7" y="810"/>
                        <a:pt x="6" y="818"/>
                      </a:cubicBezTo>
                      <a:cubicBezTo>
                        <a:pt x="6" y="825"/>
                        <a:pt x="5" y="832"/>
                        <a:pt x="5" y="840"/>
                      </a:cubicBezTo>
                      <a:cubicBezTo>
                        <a:pt x="4" y="846"/>
                        <a:pt x="4" y="853"/>
                        <a:pt x="3" y="860"/>
                      </a:cubicBezTo>
                      <a:cubicBezTo>
                        <a:pt x="3" y="861"/>
                        <a:pt x="3" y="861"/>
                        <a:pt x="3" y="861"/>
                      </a:cubicBezTo>
                      <a:cubicBezTo>
                        <a:pt x="3" y="862"/>
                        <a:pt x="3" y="863"/>
                        <a:pt x="3" y="864"/>
                      </a:cubicBezTo>
                      <a:cubicBezTo>
                        <a:pt x="3" y="865"/>
                        <a:pt x="3" y="866"/>
                        <a:pt x="3" y="866"/>
                      </a:cubicBezTo>
                      <a:cubicBezTo>
                        <a:pt x="2" y="876"/>
                        <a:pt x="2" y="885"/>
                        <a:pt x="2" y="894"/>
                      </a:cubicBezTo>
                      <a:cubicBezTo>
                        <a:pt x="2" y="895"/>
                        <a:pt x="2" y="896"/>
                        <a:pt x="2" y="897"/>
                      </a:cubicBezTo>
                      <a:cubicBezTo>
                        <a:pt x="1" y="899"/>
                        <a:pt x="1" y="898"/>
                        <a:pt x="1" y="900"/>
                      </a:cubicBezTo>
                      <a:cubicBezTo>
                        <a:pt x="1" y="907"/>
                        <a:pt x="1" y="913"/>
                        <a:pt x="1" y="920"/>
                      </a:cubicBezTo>
                      <a:cubicBezTo>
                        <a:pt x="1" y="928"/>
                        <a:pt x="0" y="938"/>
                        <a:pt x="0" y="946"/>
                      </a:cubicBezTo>
                      <a:cubicBezTo>
                        <a:pt x="0" y="946"/>
                        <a:pt x="0" y="946"/>
                        <a:pt x="0" y="947"/>
                      </a:cubicBezTo>
                      <a:cubicBezTo>
                        <a:pt x="0" y="949"/>
                        <a:pt x="0" y="951"/>
                        <a:pt x="0" y="953"/>
                      </a:cubicBezTo>
                      <a:cubicBezTo>
                        <a:pt x="0" y="958"/>
                        <a:pt x="0" y="963"/>
                        <a:pt x="0" y="968"/>
                      </a:cubicBezTo>
                      <a:cubicBezTo>
                        <a:pt x="0" y="969"/>
                        <a:pt x="0" y="969"/>
                        <a:pt x="0" y="969"/>
                      </a:cubicBezTo>
                      <a:cubicBezTo>
                        <a:pt x="0" y="969"/>
                        <a:pt x="0" y="969"/>
                        <a:pt x="0" y="970"/>
                      </a:cubicBezTo>
                      <a:cubicBezTo>
                        <a:pt x="0" y="970"/>
                        <a:pt x="0" y="971"/>
                        <a:pt x="0" y="972"/>
                      </a:cubicBezTo>
                      <a:cubicBezTo>
                        <a:pt x="0" y="980"/>
                        <a:pt x="0" y="988"/>
                        <a:pt x="1" y="996"/>
                      </a:cubicBezTo>
                      <a:cubicBezTo>
                        <a:pt x="1" y="1001"/>
                        <a:pt x="1" y="1006"/>
                        <a:pt x="2" y="1010"/>
                      </a:cubicBezTo>
                      <a:cubicBezTo>
                        <a:pt x="2" y="1013"/>
                        <a:pt x="3" y="1015"/>
                        <a:pt x="4" y="1017"/>
                      </a:cubicBezTo>
                      <a:cubicBezTo>
                        <a:pt x="5" y="1019"/>
                        <a:pt x="5" y="1021"/>
                        <a:pt x="7" y="1023"/>
                      </a:cubicBezTo>
                      <a:cubicBezTo>
                        <a:pt x="11" y="1030"/>
                        <a:pt x="15" y="1037"/>
                        <a:pt x="20" y="1044"/>
                      </a:cubicBezTo>
                      <a:cubicBezTo>
                        <a:pt x="50" y="1092"/>
                        <a:pt x="80" y="1141"/>
                        <a:pt x="113" y="1187"/>
                      </a:cubicBezTo>
                      <a:cubicBezTo>
                        <a:pt x="115" y="1191"/>
                        <a:pt x="118" y="1194"/>
                        <a:pt x="120" y="1197"/>
                      </a:cubicBezTo>
                      <a:cubicBezTo>
                        <a:pt x="120" y="1198"/>
                        <a:pt x="121" y="1198"/>
                        <a:pt x="122" y="1199"/>
                      </a:cubicBezTo>
                      <a:cubicBezTo>
                        <a:pt x="124" y="1202"/>
                        <a:pt x="126" y="1205"/>
                        <a:pt x="129" y="1208"/>
                      </a:cubicBezTo>
                      <a:cubicBezTo>
                        <a:pt x="131" y="1211"/>
                        <a:pt x="134" y="1214"/>
                        <a:pt x="137" y="1217"/>
                      </a:cubicBezTo>
                      <a:cubicBezTo>
                        <a:pt x="137" y="1218"/>
                        <a:pt x="138" y="1219"/>
                        <a:pt x="138" y="1219"/>
                      </a:cubicBezTo>
                      <a:cubicBezTo>
                        <a:pt x="144" y="1225"/>
                        <a:pt x="149" y="1231"/>
                        <a:pt x="155" y="1236"/>
                      </a:cubicBezTo>
                      <a:cubicBezTo>
                        <a:pt x="156" y="1237"/>
                        <a:pt x="156" y="1237"/>
                        <a:pt x="157" y="1238"/>
                      </a:cubicBezTo>
                      <a:cubicBezTo>
                        <a:pt x="163" y="1243"/>
                        <a:pt x="169" y="1248"/>
                        <a:pt x="175" y="1252"/>
                      </a:cubicBezTo>
                      <a:cubicBezTo>
                        <a:pt x="176" y="1253"/>
                        <a:pt x="177" y="1253"/>
                        <a:pt x="177" y="1254"/>
                      </a:cubicBezTo>
                      <a:cubicBezTo>
                        <a:pt x="180" y="1256"/>
                        <a:pt x="183" y="1258"/>
                        <a:pt x="186" y="1259"/>
                      </a:cubicBezTo>
                      <a:cubicBezTo>
                        <a:pt x="186" y="1260"/>
                        <a:pt x="187" y="1260"/>
                        <a:pt x="187" y="1260"/>
                      </a:cubicBezTo>
                      <a:cubicBezTo>
                        <a:pt x="188" y="1261"/>
                        <a:pt x="189" y="1261"/>
                        <a:pt x="189" y="1261"/>
                      </a:cubicBezTo>
                      <a:cubicBezTo>
                        <a:pt x="190" y="1262"/>
                        <a:pt x="191" y="1263"/>
                        <a:pt x="192" y="1263"/>
                      </a:cubicBezTo>
                      <a:cubicBezTo>
                        <a:pt x="193" y="1264"/>
                        <a:pt x="194" y="1264"/>
                        <a:pt x="195" y="1265"/>
                      </a:cubicBezTo>
                      <a:cubicBezTo>
                        <a:pt x="195" y="1265"/>
                        <a:pt x="195" y="1265"/>
                        <a:pt x="196" y="1265"/>
                      </a:cubicBezTo>
                      <a:cubicBezTo>
                        <a:pt x="198" y="1267"/>
                        <a:pt x="200" y="1268"/>
                        <a:pt x="203" y="1269"/>
                      </a:cubicBezTo>
                      <a:cubicBezTo>
                        <a:pt x="204" y="1269"/>
                        <a:pt x="205" y="1270"/>
                        <a:pt x="206" y="1270"/>
                      </a:cubicBezTo>
                      <a:cubicBezTo>
                        <a:pt x="207" y="1271"/>
                        <a:pt x="207" y="1271"/>
                        <a:pt x="208" y="1271"/>
                      </a:cubicBezTo>
                      <a:cubicBezTo>
                        <a:pt x="209" y="1272"/>
                        <a:pt x="210" y="1272"/>
                        <a:pt x="211" y="1273"/>
                      </a:cubicBezTo>
                      <a:cubicBezTo>
                        <a:pt x="212" y="1273"/>
                        <a:pt x="212" y="1273"/>
                        <a:pt x="213" y="1273"/>
                      </a:cubicBezTo>
                      <a:cubicBezTo>
                        <a:pt x="215" y="1274"/>
                        <a:pt x="217" y="1275"/>
                        <a:pt x="220" y="1276"/>
                      </a:cubicBezTo>
                      <a:cubicBezTo>
                        <a:pt x="220" y="1276"/>
                        <a:pt x="220" y="1276"/>
                        <a:pt x="221" y="1276"/>
                      </a:cubicBezTo>
                      <a:cubicBezTo>
                        <a:pt x="222" y="1276"/>
                        <a:pt x="222" y="1276"/>
                        <a:pt x="222" y="1276"/>
                      </a:cubicBezTo>
                      <a:cubicBezTo>
                        <a:pt x="222" y="1276"/>
                        <a:pt x="222" y="1276"/>
                        <a:pt x="585" y="1276"/>
                      </a:cubicBezTo>
                      <a:cubicBezTo>
                        <a:pt x="586" y="1276"/>
                        <a:pt x="587" y="1276"/>
                        <a:pt x="588" y="1276"/>
                      </a:cubicBezTo>
                      <a:cubicBezTo>
                        <a:pt x="589" y="1276"/>
                        <a:pt x="590" y="1275"/>
                        <a:pt x="591" y="1275"/>
                      </a:cubicBezTo>
                      <a:cubicBezTo>
                        <a:pt x="591" y="1274"/>
                        <a:pt x="592" y="1274"/>
                        <a:pt x="593" y="1274"/>
                      </a:cubicBezTo>
                      <a:cubicBezTo>
                        <a:pt x="594" y="1274"/>
                        <a:pt x="595" y="1273"/>
                        <a:pt x="596" y="1273"/>
                      </a:cubicBezTo>
                      <a:cubicBezTo>
                        <a:pt x="599" y="1271"/>
                        <a:pt x="602" y="1270"/>
                        <a:pt x="605" y="1269"/>
                      </a:cubicBezTo>
                      <a:cubicBezTo>
                        <a:pt x="605" y="1268"/>
                        <a:pt x="606" y="1268"/>
                        <a:pt x="607" y="1267"/>
                      </a:cubicBezTo>
                      <a:cubicBezTo>
                        <a:pt x="609" y="1266"/>
                        <a:pt x="611" y="1265"/>
                        <a:pt x="613" y="1264"/>
                      </a:cubicBezTo>
                      <a:cubicBezTo>
                        <a:pt x="614" y="1264"/>
                        <a:pt x="614" y="1264"/>
                        <a:pt x="614" y="1264"/>
                      </a:cubicBezTo>
                      <a:cubicBezTo>
                        <a:pt x="614" y="1263"/>
                        <a:pt x="615" y="1263"/>
                        <a:pt x="615" y="1263"/>
                      </a:cubicBezTo>
                      <a:cubicBezTo>
                        <a:pt x="618" y="1261"/>
                        <a:pt x="621" y="1259"/>
                        <a:pt x="624" y="1257"/>
                      </a:cubicBezTo>
                      <a:cubicBezTo>
                        <a:pt x="624" y="1257"/>
                        <a:pt x="624" y="1257"/>
                        <a:pt x="625" y="1257"/>
                      </a:cubicBezTo>
                      <a:cubicBezTo>
                        <a:pt x="625" y="1256"/>
                        <a:pt x="625" y="1256"/>
                        <a:pt x="625" y="1256"/>
                      </a:cubicBezTo>
                      <a:cubicBezTo>
                        <a:pt x="629" y="1254"/>
                        <a:pt x="632" y="1252"/>
                        <a:pt x="635" y="1249"/>
                      </a:cubicBezTo>
                      <a:cubicBezTo>
                        <a:pt x="635" y="1249"/>
                        <a:pt x="635" y="1249"/>
                        <a:pt x="636" y="1249"/>
                      </a:cubicBezTo>
                      <a:cubicBezTo>
                        <a:pt x="636" y="1248"/>
                        <a:pt x="637" y="1248"/>
                        <a:pt x="638" y="1247"/>
                      </a:cubicBezTo>
                      <a:cubicBezTo>
                        <a:pt x="639" y="1246"/>
                        <a:pt x="640" y="1245"/>
                        <a:pt x="641" y="1245"/>
                      </a:cubicBezTo>
                      <a:cubicBezTo>
                        <a:pt x="642" y="1244"/>
                        <a:pt x="643" y="1242"/>
                        <a:pt x="645" y="1241"/>
                      </a:cubicBezTo>
                      <a:cubicBezTo>
                        <a:pt x="646" y="1240"/>
                        <a:pt x="646" y="1240"/>
                        <a:pt x="646" y="1240"/>
                      </a:cubicBezTo>
                      <a:cubicBezTo>
                        <a:pt x="649" y="1238"/>
                        <a:pt x="651" y="1236"/>
                        <a:pt x="653" y="1233"/>
                      </a:cubicBezTo>
                      <a:cubicBezTo>
                        <a:pt x="656" y="1231"/>
                        <a:pt x="658" y="1229"/>
                        <a:pt x="660" y="1227"/>
                      </a:cubicBezTo>
                      <a:cubicBezTo>
                        <a:pt x="661" y="1226"/>
                        <a:pt x="661" y="1226"/>
                        <a:pt x="662" y="1225"/>
                      </a:cubicBezTo>
                      <a:cubicBezTo>
                        <a:pt x="664" y="1223"/>
                        <a:pt x="666" y="1221"/>
                        <a:pt x="668" y="1218"/>
                      </a:cubicBezTo>
                      <a:cubicBezTo>
                        <a:pt x="669" y="1218"/>
                        <a:pt x="669" y="1218"/>
                        <a:pt x="669" y="1217"/>
                      </a:cubicBezTo>
                      <a:cubicBezTo>
                        <a:pt x="672" y="1214"/>
                        <a:pt x="675" y="1211"/>
                        <a:pt x="678" y="1208"/>
                      </a:cubicBezTo>
                      <a:cubicBezTo>
                        <a:pt x="681" y="1204"/>
                        <a:pt x="684" y="1200"/>
                        <a:pt x="687" y="1197"/>
                      </a:cubicBezTo>
                      <a:cubicBezTo>
                        <a:pt x="705" y="1175"/>
                        <a:pt x="722" y="1152"/>
                        <a:pt x="738" y="1128"/>
                      </a:cubicBezTo>
                      <a:cubicBezTo>
                        <a:pt x="745" y="1118"/>
                        <a:pt x="752" y="1107"/>
                        <a:pt x="758" y="1097"/>
                      </a:cubicBezTo>
                      <a:cubicBezTo>
                        <a:pt x="762" y="1091"/>
                        <a:pt x="765" y="1085"/>
                        <a:pt x="769" y="1080"/>
                      </a:cubicBezTo>
                      <a:cubicBezTo>
                        <a:pt x="771" y="1076"/>
                        <a:pt x="773" y="1072"/>
                        <a:pt x="776" y="1067"/>
                      </a:cubicBezTo>
                      <a:cubicBezTo>
                        <a:pt x="779" y="1062"/>
                        <a:pt x="782" y="1056"/>
                        <a:pt x="785" y="1051"/>
                      </a:cubicBezTo>
                      <a:cubicBezTo>
                        <a:pt x="791" y="1040"/>
                        <a:pt x="797" y="1029"/>
                        <a:pt x="803" y="1017"/>
                      </a:cubicBezTo>
                      <a:cubicBezTo>
                        <a:pt x="804" y="1016"/>
                        <a:pt x="805" y="1014"/>
                        <a:pt x="805" y="1013"/>
                      </a:cubicBezTo>
                      <a:cubicBezTo>
                        <a:pt x="806" y="1011"/>
                        <a:pt x="806" y="1009"/>
                        <a:pt x="806" y="1008"/>
                      </a:cubicBezTo>
                      <a:cubicBezTo>
                        <a:pt x="806" y="999"/>
                        <a:pt x="806" y="991"/>
                        <a:pt x="807" y="983"/>
                      </a:cubicBezTo>
                      <a:cubicBezTo>
                        <a:pt x="807" y="982"/>
                        <a:pt x="807" y="982"/>
                        <a:pt x="807" y="982"/>
                      </a:cubicBezTo>
                      <a:cubicBezTo>
                        <a:pt x="807" y="981"/>
                        <a:pt x="807" y="979"/>
                        <a:pt x="807" y="977"/>
                      </a:cubicBezTo>
                      <a:cubicBezTo>
                        <a:pt x="807" y="976"/>
                        <a:pt x="807" y="976"/>
                        <a:pt x="807" y="976"/>
                      </a:cubicBezTo>
                      <a:cubicBezTo>
                        <a:pt x="807" y="973"/>
                        <a:pt x="807" y="970"/>
                        <a:pt x="807" y="967"/>
                      </a:cubicBezTo>
                      <a:cubicBezTo>
                        <a:pt x="807" y="964"/>
                        <a:pt x="807" y="960"/>
                        <a:pt x="807" y="956"/>
                      </a:cubicBezTo>
                      <a:cubicBezTo>
                        <a:pt x="807" y="954"/>
                        <a:pt x="807" y="952"/>
                        <a:pt x="807" y="950"/>
                      </a:cubicBezTo>
                      <a:cubicBezTo>
                        <a:pt x="807" y="946"/>
                        <a:pt x="807" y="941"/>
                        <a:pt x="807" y="936"/>
                      </a:cubicBezTo>
                      <a:cubicBezTo>
                        <a:pt x="807" y="935"/>
                        <a:pt x="807" y="935"/>
                        <a:pt x="807" y="935"/>
                      </a:cubicBezTo>
                      <a:cubicBezTo>
                        <a:pt x="807" y="934"/>
                        <a:pt x="807" y="932"/>
                        <a:pt x="806" y="931"/>
                      </a:cubicBezTo>
                      <a:close/>
                      <a:moveTo>
                        <a:pt x="386" y="376"/>
                      </a:moveTo>
                      <a:cubicBezTo>
                        <a:pt x="375" y="370"/>
                        <a:pt x="363" y="364"/>
                        <a:pt x="352" y="357"/>
                      </a:cubicBezTo>
                      <a:cubicBezTo>
                        <a:pt x="315" y="335"/>
                        <a:pt x="279" y="317"/>
                        <a:pt x="241" y="313"/>
                      </a:cubicBezTo>
                      <a:cubicBezTo>
                        <a:pt x="213" y="311"/>
                        <a:pt x="180" y="314"/>
                        <a:pt x="146" y="326"/>
                      </a:cubicBezTo>
                      <a:cubicBezTo>
                        <a:pt x="175" y="230"/>
                        <a:pt x="210" y="136"/>
                        <a:pt x="251" y="44"/>
                      </a:cubicBezTo>
                      <a:cubicBezTo>
                        <a:pt x="251" y="44"/>
                        <a:pt x="251" y="44"/>
                        <a:pt x="325" y="44"/>
                      </a:cubicBezTo>
                      <a:cubicBezTo>
                        <a:pt x="341" y="44"/>
                        <a:pt x="362" y="44"/>
                        <a:pt x="386" y="44"/>
                      </a:cubicBezTo>
                      <a:cubicBezTo>
                        <a:pt x="430" y="44"/>
                        <a:pt x="430" y="44"/>
                        <a:pt x="430" y="44"/>
                      </a:cubicBezTo>
                      <a:cubicBezTo>
                        <a:pt x="430" y="44"/>
                        <a:pt x="430" y="44"/>
                        <a:pt x="498" y="44"/>
                      </a:cubicBezTo>
                      <a:cubicBezTo>
                        <a:pt x="513" y="44"/>
                        <a:pt x="533" y="44"/>
                        <a:pt x="556" y="44"/>
                      </a:cubicBezTo>
                      <a:cubicBezTo>
                        <a:pt x="610" y="165"/>
                        <a:pt x="654" y="290"/>
                        <a:pt x="687" y="418"/>
                      </a:cubicBezTo>
                      <a:cubicBezTo>
                        <a:pt x="637" y="436"/>
                        <a:pt x="560" y="444"/>
                        <a:pt x="456" y="406"/>
                      </a:cubicBezTo>
                      <a:cubicBezTo>
                        <a:pt x="448" y="403"/>
                        <a:pt x="439" y="400"/>
                        <a:pt x="430" y="396"/>
                      </a:cubicBezTo>
                      <a:cubicBezTo>
                        <a:pt x="386" y="376"/>
                        <a:pt x="386" y="376"/>
                        <a:pt x="386" y="376"/>
                      </a:cubicBezTo>
                      <a:cubicBezTo>
                        <a:pt x="375" y="370"/>
                        <a:pt x="363" y="364"/>
                        <a:pt x="352" y="357"/>
                      </a:cubicBezTo>
                    </a:path>
                  </a:pathLst>
                </a:custGeom>
                <a:solidFill>
                  <a:srgbClr val="0A37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grpSp>
        </p:grpSp>
        <p:sp>
          <p:nvSpPr>
            <p:cNvPr id="25" name="Oval 24">
              <a:extLst>
                <a:ext uri="{FF2B5EF4-FFF2-40B4-BE49-F238E27FC236}">
                  <a16:creationId xmlns:a16="http://schemas.microsoft.com/office/drawing/2014/main" id="{194E265E-2B48-4440-A433-290B1FA416A1}"/>
                </a:ext>
              </a:extLst>
            </p:cNvPr>
            <p:cNvSpPr/>
            <p:nvPr/>
          </p:nvSpPr>
          <p:spPr>
            <a:xfrm>
              <a:off x="4036550" y="2118130"/>
              <a:ext cx="1125499" cy="1125499"/>
            </a:xfrm>
            <a:prstGeom prst="ellipse">
              <a:avLst/>
            </a:prstGeom>
            <a:grpFill/>
            <a:ln w="38100" cap="flat" cmpd="sng" algn="ctr">
              <a:gradFill flip="none" rotWithShape="1">
                <a:gsLst>
                  <a:gs pos="0">
                    <a:srgbClr val="051934"/>
                  </a:gs>
                  <a:gs pos="100000">
                    <a:srgbClr val="0A3774"/>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12284C"/>
                </a:solidFill>
                <a:effectLst/>
                <a:uLnTx/>
                <a:uFillTx/>
                <a:latin typeface="Open Sans Light"/>
                <a:ea typeface="+mn-ea"/>
                <a:cs typeface="+mn-cs"/>
              </a:endParaRPr>
            </a:p>
          </p:txBody>
        </p:sp>
        <p:sp>
          <p:nvSpPr>
            <p:cNvPr id="26" name="Oval 25">
              <a:extLst>
                <a:ext uri="{FF2B5EF4-FFF2-40B4-BE49-F238E27FC236}">
                  <a16:creationId xmlns:a16="http://schemas.microsoft.com/office/drawing/2014/main" id="{A919D7E1-9A53-F94D-BD74-6A4BC20CD227}"/>
                </a:ext>
              </a:extLst>
            </p:cNvPr>
            <p:cNvSpPr/>
            <p:nvPr/>
          </p:nvSpPr>
          <p:spPr>
            <a:xfrm>
              <a:off x="4036550" y="2118130"/>
              <a:ext cx="1125499" cy="1125499"/>
            </a:xfrm>
            <a:prstGeom prst="ellipse">
              <a:avLst/>
            </a:prstGeom>
            <a:grpFill/>
            <a:ln w="38100" cap="flat" cmpd="sng" algn="ctr">
              <a:gradFill flip="none" rotWithShape="1">
                <a:gsLst>
                  <a:gs pos="0">
                    <a:srgbClr val="051934"/>
                  </a:gs>
                  <a:gs pos="100000">
                    <a:srgbClr val="0A3774"/>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12284C"/>
                </a:solidFill>
                <a:effectLst/>
                <a:uLnTx/>
                <a:uFillTx/>
                <a:latin typeface="Open Sans Light"/>
                <a:ea typeface="+mn-ea"/>
                <a:cs typeface="+mn-cs"/>
              </a:endParaRPr>
            </a:p>
          </p:txBody>
        </p:sp>
      </p:grpSp>
      <p:sp>
        <p:nvSpPr>
          <p:cNvPr id="31" name="TextBox 30">
            <a:extLst>
              <a:ext uri="{FF2B5EF4-FFF2-40B4-BE49-F238E27FC236}">
                <a16:creationId xmlns:a16="http://schemas.microsoft.com/office/drawing/2014/main" id="{37D278B4-3E3D-4944-BE84-7BCE912EF9A5}"/>
              </a:ext>
            </a:extLst>
          </p:cNvPr>
          <p:cNvSpPr txBox="1"/>
          <p:nvPr/>
        </p:nvSpPr>
        <p:spPr>
          <a:xfrm>
            <a:off x="5133979" y="5226703"/>
            <a:ext cx="1951848" cy="38779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B7E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284C"/>
                </a:solidFill>
                <a:effectLst/>
                <a:uLnTx/>
                <a:uFillTx/>
                <a:latin typeface="Open Sans Light"/>
                <a:ea typeface="+mn-ea"/>
                <a:cs typeface="+mn-cs"/>
              </a:rPr>
              <a:t>Quarantine / Isolation</a:t>
            </a:r>
          </a:p>
        </p:txBody>
      </p:sp>
      <p:sp>
        <p:nvSpPr>
          <p:cNvPr id="32" name="TextBox 31">
            <a:extLst>
              <a:ext uri="{FF2B5EF4-FFF2-40B4-BE49-F238E27FC236}">
                <a16:creationId xmlns:a16="http://schemas.microsoft.com/office/drawing/2014/main" id="{7D5BE9C2-A815-BB40-89D0-BD59E5934708}"/>
              </a:ext>
            </a:extLst>
          </p:cNvPr>
          <p:cNvSpPr txBox="1"/>
          <p:nvPr/>
        </p:nvSpPr>
        <p:spPr>
          <a:xfrm>
            <a:off x="4496970" y="5572339"/>
            <a:ext cx="3409160" cy="77559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B7E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284C"/>
                </a:solidFill>
                <a:effectLst/>
                <a:uLnTx/>
                <a:uFillTx/>
                <a:latin typeface="Open Sans Light"/>
                <a:ea typeface="+mn-ea"/>
                <a:cs typeface="+mn-cs"/>
              </a:rPr>
              <a:t>Guidance on which situations constitute the need to quarantine or isolate and how best to do so</a:t>
            </a:r>
          </a:p>
        </p:txBody>
      </p:sp>
      <p:grpSp>
        <p:nvGrpSpPr>
          <p:cNvPr id="33" name="Group 32">
            <a:extLst>
              <a:ext uri="{FF2B5EF4-FFF2-40B4-BE49-F238E27FC236}">
                <a16:creationId xmlns:a16="http://schemas.microsoft.com/office/drawing/2014/main" id="{DC23A766-80E3-284D-AA3C-24C2E52E1847}"/>
              </a:ext>
            </a:extLst>
          </p:cNvPr>
          <p:cNvGrpSpPr/>
          <p:nvPr/>
        </p:nvGrpSpPr>
        <p:grpSpPr>
          <a:xfrm>
            <a:off x="5638802" y="4039944"/>
            <a:ext cx="1125499" cy="1125499"/>
            <a:chOff x="5520582" y="2061772"/>
            <a:chExt cx="1125499" cy="1125499"/>
          </a:xfrm>
        </p:grpSpPr>
        <p:grpSp>
          <p:nvGrpSpPr>
            <p:cNvPr id="34" name="Group 33">
              <a:extLst>
                <a:ext uri="{FF2B5EF4-FFF2-40B4-BE49-F238E27FC236}">
                  <a16:creationId xmlns:a16="http://schemas.microsoft.com/office/drawing/2014/main" id="{CEFF69A8-0221-6647-BBD5-773FF253BF5D}"/>
                </a:ext>
              </a:extLst>
            </p:cNvPr>
            <p:cNvGrpSpPr>
              <a:grpSpLocks noChangeAspect="1"/>
            </p:cNvGrpSpPr>
            <p:nvPr/>
          </p:nvGrpSpPr>
          <p:grpSpPr>
            <a:xfrm>
              <a:off x="5661413" y="2203011"/>
              <a:ext cx="843835" cy="843835"/>
              <a:chOff x="5272088" y="2606675"/>
              <a:chExt cx="1644650" cy="1644650"/>
            </a:xfrm>
          </p:grpSpPr>
          <p:sp>
            <p:nvSpPr>
              <p:cNvPr id="36" name="AutoShape 3">
                <a:extLst>
                  <a:ext uri="{FF2B5EF4-FFF2-40B4-BE49-F238E27FC236}">
                    <a16:creationId xmlns:a16="http://schemas.microsoft.com/office/drawing/2014/main" id="{5F993387-B1E4-3143-8FA7-2C34313C44FC}"/>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grpSp>
            <p:nvGrpSpPr>
              <p:cNvPr id="37" name="Group 36">
                <a:extLst>
                  <a:ext uri="{FF2B5EF4-FFF2-40B4-BE49-F238E27FC236}">
                    <a16:creationId xmlns:a16="http://schemas.microsoft.com/office/drawing/2014/main" id="{881DC1DD-8BFC-8B47-930F-E339877455DE}"/>
                  </a:ext>
                </a:extLst>
              </p:cNvPr>
              <p:cNvGrpSpPr/>
              <p:nvPr/>
            </p:nvGrpSpPr>
            <p:grpSpPr>
              <a:xfrm>
                <a:off x="5526088" y="2831048"/>
                <a:ext cx="1135063" cy="1250415"/>
                <a:chOff x="5526088" y="2831048"/>
                <a:chExt cx="1135063" cy="1250415"/>
              </a:xfrm>
            </p:grpSpPr>
            <p:sp>
              <p:nvSpPr>
                <p:cNvPr id="38" name="Freeform 10">
                  <a:extLst>
                    <a:ext uri="{FF2B5EF4-FFF2-40B4-BE49-F238E27FC236}">
                      <a16:creationId xmlns:a16="http://schemas.microsoft.com/office/drawing/2014/main" id="{D7884634-1EE8-3347-8757-75B8BC845E67}"/>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rgbClr val="05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sp>
              <p:nvSpPr>
                <p:cNvPr id="39" name="Freeform 11">
                  <a:extLst>
                    <a:ext uri="{FF2B5EF4-FFF2-40B4-BE49-F238E27FC236}">
                      <a16:creationId xmlns:a16="http://schemas.microsoft.com/office/drawing/2014/main" id="{AE951138-791B-0F43-A9EA-6402AD549319}"/>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rgbClr val="0A37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grpSp>
        </p:grpSp>
        <p:sp>
          <p:nvSpPr>
            <p:cNvPr id="35" name="Oval 34">
              <a:extLst>
                <a:ext uri="{FF2B5EF4-FFF2-40B4-BE49-F238E27FC236}">
                  <a16:creationId xmlns:a16="http://schemas.microsoft.com/office/drawing/2014/main" id="{3E3B1F42-9D75-3243-8D7E-BFC809DED261}"/>
                </a:ext>
              </a:extLst>
            </p:cNvPr>
            <p:cNvSpPr/>
            <p:nvPr/>
          </p:nvSpPr>
          <p:spPr>
            <a:xfrm>
              <a:off x="5520582" y="2061772"/>
              <a:ext cx="1125499" cy="1125499"/>
            </a:xfrm>
            <a:prstGeom prst="ellipse">
              <a:avLst/>
            </a:prstGeom>
            <a:grpFill/>
            <a:ln w="38100" cap="flat" cmpd="sng" algn="ctr">
              <a:gradFill flip="none" rotWithShape="1">
                <a:gsLst>
                  <a:gs pos="0">
                    <a:srgbClr val="051934"/>
                  </a:gs>
                  <a:gs pos="100000">
                    <a:srgbClr val="0A3774"/>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12284C"/>
                </a:solidFill>
                <a:effectLst/>
                <a:uLnTx/>
                <a:uFillTx/>
                <a:latin typeface="Open Sans Light"/>
                <a:ea typeface="+mn-ea"/>
                <a:cs typeface="+mn-cs"/>
              </a:endParaRPr>
            </a:p>
          </p:txBody>
        </p:sp>
      </p:grpSp>
      <p:sp>
        <p:nvSpPr>
          <p:cNvPr id="40" name="TextBox 39">
            <a:extLst>
              <a:ext uri="{FF2B5EF4-FFF2-40B4-BE49-F238E27FC236}">
                <a16:creationId xmlns:a16="http://schemas.microsoft.com/office/drawing/2014/main" id="{5483F29E-55DF-A64F-8547-EF922F8E6E3C}"/>
              </a:ext>
            </a:extLst>
          </p:cNvPr>
          <p:cNvSpPr txBox="1"/>
          <p:nvPr/>
        </p:nvSpPr>
        <p:spPr>
          <a:xfrm>
            <a:off x="9163884" y="2790455"/>
            <a:ext cx="2180961" cy="38779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B7E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284C"/>
                </a:solidFill>
                <a:effectLst/>
                <a:uLnTx/>
                <a:uFillTx/>
                <a:latin typeface="Open Sans Light"/>
                <a:ea typeface="+mn-ea"/>
                <a:cs typeface="+mn-cs"/>
              </a:rPr>
              <a:t>Universal masking</a:t>
            </a:r>
          </a:p>
        </p:txBody>
      </p:sp>
      <p:sp>
        <p:nvSpPr>
          <p:cNvPr id="41" name="TextBox 40">
            <a:extLst>
              <a:ext uri="{FF2B5EF4-FFF2-40B4-BE49-F238E27FC236}">
                <a16:creationId xmlns:a16="http://schemas.microsoft.com/office/drawing/2014/main" id="{22C2351D-3316-2745-8063-FAD25C395485}"/>
              </a:ext>
            </a:extLst>
          </p:cNvPr>
          <p:cNvSpPr txBox="1"/>
          <p:nvPr/>
        </p:nvSpPr>
        <p:spPr>
          <a:xfrm>
            <a:off x="8549784" y="3132595"/>
            <a:ext cx="3409160" cy="77559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B7E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284C"/>
                </a:solidFill>
                <a:effectLst/>
                <a:uLnTx/>
                <a:uFillTx/>
                <a:latin typeface="Open Sans Light"/>
                <a:ea typeface="+mn-ea"/>
                <a:cs typeface="+mn-cs"/>
              </a:rPr>
              <a:t>Everyone in the building should wear appropriate masks per guidelines in </a:t>
            </a:r>
            <a:r>
              <a:rPr kumimoji="0" lang="en-US" sz="1200" b="1" i="0" u="none" strike="noStrike" kern="1200" cap="none" spc="0" normalizeH="0" baseline="0" noProof="0" dirty="0">
                <a:ln>
                  <a:noFill/>
                </a:ln>
                <a:solidFill>
                  <a:srgbClr val="12284C"/>
                </a:solidFill>
                <a:effectLst/>
                <a:uLnTx/>
                <a:uFillTx/>
                <a:latin typeface="Open Sans Light"/>
                <a:ea typeface="+mn-ea"/>
                <a:cs typeface="+mn-cs"/>
              </a:rPr>
              <a:t>Navigating Change</a:t>
            </a: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grpSp>
        <p:nvGrpSpPr>
          <p:cNvPr id="42" name="Group 41">
            <a:extLst>
              <a:ext uri="{FF2B5EF4-FFF2-40B4-BE49-F238E27FC236}">
                <a16:creationId xmlns:a16="http://schemas.microsoft.com/office/drawing/2014/main" id="{18A69C03-BD1F-784A-A1C8-13C9F48D3295}"/>
              </a:ext>
            </a:extLst>
          </p:cNvPr>
          <p:cNvGrpSpPr/>
          <p:nvPr/>
        </p:nvGrpSpPr>
        <p:grpSpPr>
          <a:xfrm>
            <a:off x="9691616" y="1600200"/>
            <a:ext cx="1125499" cy="1125499"/>
            <a:chOff x="7173813" y="6066703"/>
            <a:chExt cx="1125499" cy="1125499"/>
          </a:xfrm>
        </p:grpSpPr>
        <p:grpSp>
          <p:nvGrpSpPr>
            <p:cNvPr id="43" name="Group 42">
              <a:extLst>
                <a:ext uri="{FF2B5EF4-FFF2-40B4-BE49-F238E27FC236}">
                  <a16:creationId xmlns:a16="http://schemas.microsoft.com/office/drawing/2014/main" id="{3D0C8F6E-A8F0-774D-8A5B-177AB7C7BEDC}"/>
                </a:ext>
              </a:extLst>
            </p:cNvPr>
            <p:cNvGrpSpPr>
              <a:grpSpLocks noChangeAspect="1"/>
            </p:cNvGrpSpPr>
            <p:nvPr/>
          </p:nvGrpSpPr>
          <p:grpSpPr>
            <a:xfrm>
              <a:off x="7314644" y="6207942"/>
              <a:ext cx="843835" cy="843835"/>
              <a:chOff x="1983582" y="2081213"/>
              <a:chExt cx="1647825" cy="1647825"/>
            </a:xfrm>
          </p:grpSpPr>
          <p:sp>
            <p:nvSpPr>
              <p:cNvPr id="45" name="AutoShape 6">
                <a:extLst>
                  <a:ext uri="{FF2B5EF4-FFF2-40B4-BE49-F238E27FC236}">
                    <a16:creationId xmlns:a16="http://schemas.microsoft.com/office/drawing/2014/main" id="{5A448BD8-6ABF-DA46-BCBE-082A5B66CFF4}"/>
                  </a:ext>
                </a:extLst>
              </p:cNvPr>
              <p:cNvSpPr>
                <a:spLocks noChangeAspect="1" noChangeArrowheads="1" noTextEdit="1"/>
              </p:cNvSpPr>
              <p:nvPr/>
            </p:nvSpPr>
            <p:spPr bwMode="auto">
              <a:xfrm>
                <a:off x="1983582" y="2081213"/>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grpSp>
            <p:nvGrpSpPr>
              <p:cNvPr id="46" name="Group 45">
                <a:extLst>
                  <a:ext uri="{FF2B5EF4-FFF2-40B4-BE49-F238E27FC236}">
                    <a16:creationId xmlns:a16="http://schemas.microsoft.com/office/drawing/2014/main" id="{51A38846-198D-904E-B054-F61E3E383FB7}"/>
                  </a:ext>
                </a:extLst>
              </p:cNvPr>
              <p:cNvGrpSpPr/>
              <p:nvPr/>
            </p:nvGrpSpPr>
            <p:grpSpPr>
              <a:xfrm>
                <a:off x="2216945" y="2549526"/>
                <a:ext cx="1190625" cy="709612"/>
                <a:chOff x="2216945" y="2549526"/>
                <a:chExt cx="1190625" cy="709612"/>
              </a:xfrm>
            </p:grpSpPr>
            <p:sp>
              <p:nvSpPr>
                <p:cNvPr id="47" name="Freeform 8">
                  <a:extLst>
                    <a:ext uri="{FF2B5EF4-FFF2-40B4-BE49-F238E27FC236}">
                      <a16:creationId xmlns:a16="http://schemas.microsoft.com/office/drawing/2014/main" id="{1C3FBD6F-C6D8-C944-BAA2-0FDFDBE9F4BB}"/>
                    </a:ext>
                  </a:extLst>
                </p:cNvPr>
                <p:cNvSpPr>
                  <a:spLocks noEditPoints="1"/>
                </p:cNvSpPr>
                <p:nvPr/>
              </p:nvSpPr>
              <p:spPr bwMode="auto">
                <a:xfrm>
                  <a:off x="2388395" y="2624138"/>
                  <a:ext cx="847725" cy="635000"/>
                </a:xfrm>
                <a:custGeom>
                  <a:avLst/>
                  <a:gdLst>
                    <a:gd name="T0" fmla="*/ 594 w 1185"/>
                    <a:gd name="T1" fmla="*/ 0 h 888"/>
                    <a:gd name="T2" fmla="*/ 0 w 1185"/>
                    <a:gd name="T3" fmla="*/ 117 h 888"/>
                    <a:gd name="T4" fmla="*/ 0 w 1185"/>
                    <a:gd name="T5" fmla="*/ 201 h 888"/>
                    <a:gd name="T6" fmla="*/ 594 w 1185"/>
                    <a:gd name="T7" fmla="*/ 124 h 888"/>
                    <a:gd name="T8" fmla="*/ 1185 w 1185"/>
                    <a:gd name="T9" fmla="*/ 200 h 888"/>
                    <a:gd name="T10" fmla="*/ 1185 w 1185"/>
                    <a:gd name="T11" fmla="*/ 116 h 888"/>
                    <a:gd name="T12" fmla="*/ 594 w 1185"/>
                    <a:gd name="T13" fmla="*/ 0 h 888"/>
                    <a:gd name="T14" fmla="*/ 0 w 1185"/>
                    <a:gd name="T15" fmla="*/ 688 h 888"/>
                    <a:gd name="T16" fmla="*/ 0 w 1185"/>
                    <a:gd name="T17" fmla="*/ 772 h 888"/>
                    <a:gd name="T18" fmla="*/ 592 w 1185"/>
                    <a:gd name="T19" fmla="*/ 888 h 888"/>
                    <a:gd name="T20" fmla="*/ 1185 w 1185"/>
                    <a:gd name="T21" fmla="*/ 771 h 888"/>
                    <a:gd name="T22" fmla="*/ 1185 w 1185"/>
                    <a:gd name="T23" fmla="*/ 688 h 888"/>
                    <a:gd name="T24" fmla="*/ 592 w 1185"/>
                    <a:gd name="T25" fmla="*/ 764 h 888"/>
                    <a:gd name="T26" fmla="*/ 0 w 1185"/>
                    <a:gd name="T27" fmla="*/ 688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5" h="888">
                      <a:moveTo>
                        <a:pt x="594" y="0"/>
                      </a:moveTo>
                      <a:cubicBezTo>
                        <a:pt x="370" y="0"/>
                        <a:pt x="164" y="44"/>
                        <a:pt x="0" y="117"/>
                      </a:cubicBezTo>
                      <a:cubicBezTo>
                        <a:pt x="0" y="201"/>
                        <a:pt x="0" y="201"/>
                        <a:pt x="0" y="201"/>
                      </a:cubicBezTo>
                      <a:cubicBezTo>
                        <a:pt x="164" y="153"/>
                        <a:pt x="370" y="124"/>
                        <a:pt x="594" y="124"/>
                      </a:cubicBezTo>
                      <a:cubicBezTo>
                        <a:pt x="816" y="124"/>
                        <a:pt x="1022" y="153"/>
                        <a:pt x="1185" y="200"/>
                      </a:cubicBezTo>
                      <a:cubicBezTo>
                        <a:pt x="1185" y="116"/>
                        <a:pt x="1185" y="116"/>
                        <a:pt x="1185" y="116"/>
                      </a:cubicBezTo>
                      <a:cubicBezTo>
                        <a:pt x="1022" y="44"/>
                        <a:pt x="816" y="0"/>
                        <a:pt x="594" y="0"/>
                      </a:cubicBezTo>
                      <a:close/>
                      <a:moveTo>
                        <a:pt x="0" y="688"/>
                      </a:moveTo>
                      <a:cubicBezTo>
                        <a:pt x="0" y="772"/>
                        <a:pt x="0" y="772"/>
                        <a:pt x="0" y="772"/>
                      </a:cubicBezTo>
                      <a:cubicBezTo>
                        <a:pt x="163" y="844"/>
                        <a:pt x="369" y="888"/>
                        <a:pt x="592" y="888"/>
                      </a:cubicBezTo>
                      <a:cubicBezTo>
                        <a:pt x="815" y="888"/>
                        <a:pt x="1021" y="844"/>
                        <a:pt x="1185" y="771"/>
                      </a:cubicBezTo>
                      <a:cubicBezTo>
                        <a:pt x="1185" y="688"/>
                        <a:pt x="1185" y="688"/>
                        <a:pt x="1185" y="688"/>
                      </a:cubicBezTo>
                      <a:cubicBezTo>
                        <a:pt x="1021" y="735"/>
                        <a:pt x="815" y="764"/>
                        <a:pt x="592" y="764"/>
                      </a:cubicBezTo>
                      <a:cubicBezTo>
                        <a:pt x="369" y="764"/>
                        <a:pt x="163" y="735"/>
                        <a:pt x="0" y="688"/>
                      </a:cubicBezTo>
                      <a:close/>
                    </a:path>
                  </a:pathLst>
                </a:custGeom>
                <a:solidFill>
                  <a:srgbClr val="05193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sp>
              <p:nvSpPr>
                <p:cNvPr id="48" name="Freeform 9">
                  <a:extLst>
                    <a:ext uri="{FF2B5EF4-FFF2-40B4-BE49-F238E27FC236}">
                      <a16:creationId xmlns:a16="http://schemas.microsoft.com/office/drawing/2014/main" id="{D670B37B-2E5F-F94B-9253-AC9F5D371275}"/>
                    </a:ext>
                  </a:extLst>
                </p:cNvPr>
                <p:cNvSpPr>
                  <a:spLocks noEditPoints="1"/>
                </p:cNvSpPr>
                <p:nvPr/>
              </p:nvSpPr>
              <p:spPr bwMode="auto">
                <a:xfrm>
                  <a:off x="2216945" y="2549526"/>
                  <a:ext cx="1190625" cy="596900"/>
                </a:xfrm>
                <a:custGeom>
                  <a:avLst/>
                  <a:gdLst>
                    <a:gd name="T0" fmla="*/ 239 w 1665"/>
                    <a:gd name="T1" fmla="*/ 363 h 835"/>
                    <a:gd name="T2" fmla="*/ 239 w 1665"/>
                    <a:gd name="T3" fmla="*/ 422 h 835"/>
                    <a:gd name="T4" fmla="*/ 239 w 1665"/>
                    <a:gd name="T5" fmla="*/ 422 h 835"/>
                    <a:gd name="T6" fmla="*/ 239 w 1665"/>
                    <a:gd name="T7" fmla="*/ 671 h 835"/>
                    <a:gd name="T8" fmla="*/ 239 w 1665"/>
                    <a:gd name="T9" fmla="*/ 671 h 835"/>
                    <a:gd name="T10" fmla="*/ 239 w 1665"/>
                    <a:gd name="T11" fmla="*/ 732 h 835"/>
                    <a:gd name="T12" fmla="*/ 834 w 1665"/>
                    <a:gd name="T13" fmla="*/ 814 h 835"/>
                    <a:gd name="T14" fmla="*/ 1429 w 1665"/>
                    <a:gd name="T15" fmla="*/ 731 h 835"/>
                    <a:gd name="T16" fmla="*/ 1429 w 1665"/>
                    <a:gd name="T17" fmla="*/ 731 h 835"/>
                    <a:gd name="T18" fmla="*/ 1429 w 1665"/>
                    <a:gd name="T19" fmla="*/ 367 h 835"/>
                    <a:gd name="T20" fmla="*/ 1429 w 1665"/>
                    <a:gd name="T21" fmla="*/ 364 h 835"/>
                    <a:gd name="T22" fmla="*/ 834 w 1665"/>
                    <a:gd name="T23" fmla="*/ 280 h 835"/>
                    <a:gd name="T24" fmla="*/ 239 w 1665"/>
                    <a:gd name="T25" fmla="*/ 363 h 835"/>
                    <a:gd name="T26" fmla="*/ 1664 w 1665"/>
                    <a:gd name="T27" fmla="*/ 425 h 835"/>
                    <a:gd name="T28" fmla="*/ 1664 w 1665"/>
                    <a:gd name="T29" fmla="*/ 145 h 835"/>
                    <a:gd name="T30" fmla="*/ 1520 w 1665"/>
                    <a:gd name="T31" fmla="*/ 0 h 835"/>
                    <a:gd name="T32" fmla="*/ 1375 w 1665"/>
                    <a:gd name="T33" fmla="*/ 139 h 835"/>
                    <a:gd name="T34" fmla="*/ 1438 w 1665"/>
                    <a:gd name="T35" fmla="*/ 165 h 835"/>
                    <a:gd name="T36" fmla="*/ 1438 w 1665"/>
                    <a:gd name="T37" fmla="*/ 145 h 835"/>
                    <a:gd name="T38" fmla="*/ 1520 w 1665"/>
                    <a:gd name="T39" fmla="*/ 63 h 835"/>
                    <a:gd name="T40" fmla="*/ 1601 w 1665"/>
                    <a:gd name="T41" fmla="*/ 145 h 835"/>
                    <a:gd name="T42" fmla="*/ 1601 w 1665"/>
                    <a:gd name="T43" fmla="*/ 432 h 835"/>
                    <a:gd name="T44" fmla="*/ 1481 w 1665"/>
                    <a:gd name="T45" fmla="*/ 718 h 835"/>
                    <a:gd name="T46" fmla="*/ 1481 w 1665"/>
                    <a:gd name="T47" fmla="*/ 835 h 835"/>
                    <a:gd name="T48" fmla="*/ 1547 w 1665"/>
                    <a:gd name="T49" fmla="*/ 730 h 835"/>
                    <a:gd name="T50" fmla="*/ 1547 w 1665"/>
                    <a:gd name="T51" fmla="*/ 730 h 835"/>
                    <a:gd name="T52" fmla="*/ 1664 w 1665"/>
                    <a:gd name="T53" fmla="*/ 443 h 835"/>
                    <a:gd name="T54" fmla="*/ 1664 w 1665"/>
                    <a:gd name="T55" fmla="*/ 443 h 835"/>
                    <a:gd name="T56" fmla="*/ 1664 w 1665"/>
                    <a:gd name="T57" fmla="*/ 434 h 835"/>
                    <a:gd name="T58" fmla="*/ 1665 w 1665"/>
                    <a:gd name="T59" fmla="*/ 431 h 835"/>
                    <a:gd name="T60" fmla="*/ 1664 w 1665"/>
                    <a:gd name="T61" fmla="*/ 425 h 835"/>
                    <a:gd name="T62" fmla="*/ 291 w 1665"/>
                    <a:gd name="T63" fmla="*/ 139 h 835"/>
                    <a:gd name="T64" fmla="*/ 145 w 1665"/>
                    <a:gd name="T65" fmla="*/ 0 h 835"/>
                    <a:gd name="T66" fmla="*/ 1 w 1665"/>
                    <a:gd name="T67" fmla="*/ 145 h 835"/>
                    <a:gd name="T68" fmla="*/ 1 w 1665"/>
                    <a:gd name="T69" fmla="*/ 425 h 835"/>
                    <a:gd name="T70" fmla="*/ 0 w 1665"/>
                    <a:gd name="T71" fmla="*/ 431 h 835"/>
                    <a:gd name="T72" fmla="*/ 1 w 1665"/>
                    <a:gd name="T73" fmla="*/ 434 h 835"/>
                    <a:gd name="T74" fmla="*/ 1 w 1665"/>
                    <a:gd name="T75" fmla="*/ 443 h 835"/>
                    <a:gd name="T76" fmla="*/ 1 w 1665"/>
                    <a:gd name="T77" fmla="*/ 443 h 835"/>
                    <a:gd name="T78" fmla="*/ 118 w 1665"/>
                    <a:gd name="T79" fmla="*/ 730 h 835"/>
                    <a:gd name="T80" fmla="*/ 118 w 1665"/>
                    <a:gd name="T81" fmla="*/ 730 h 835"/>
                    <a:gd name="T82" fmla="*/ 184 w 1665"/>
                    <a:gd name="T83" fmla="*/ 835 h 835"/>
                    <a:gd name="T84" fmla="*/ 184 w 1665"/>
                    <a:gd name="T85" fmla="*/ 718 h 835"/>
                    <a:gd name="T86" fmla="*/ 64 w 1665"/>
                    <a:gd name="T87" fmla="*/ 432 h 835"/>
                    <a:gd name="T88" fmla="*/ 64 w 1665"/>
                    <a:gd name="T89" fmla="*/ 145 h 835"/>
                    <a:gd name="T90" fmla="*/ 145 w 1665"/>
                    <a:gd name="T91" fmla="*/ 63 h 835"/>
                    <a:gd name="T92" fmla="*/ 227 w 1665"/>
                    <a:gd name="T93" fmla="*/ 145 h 835"/>
                    <a:gd name="T94" fmla="*/ 227 w 1665"/>
                    <a:gd name="T95" fmla="*/ 165 h 835"/>
                    <a:gd name="T96" fmla="*/ 291 w 1665"/>
                    <a:gd name="T97" fmla="*/ 139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65" h="835">
                      <a:moveTo>
                        <a:pt x="239" y="363"/>
                      </a:moveTo>
                      <a:cubicBezTo>
                        <a:pt x="239" y="422"/>
                        <a:pt x="239" y="422"/>
                        <a:pt x="239" y="422"/>
                      </a:cubicBezTo>
                      <a:cubicBezTo>
                        <a:pt x="239" y="422"/>
                        <a:pt x="239" y="422"/>
                        <a:pt x="239" y="422"/>
                      </a:cubicBezTo>
                      <a:cubicBezTo>
                        <a:pt x="239" y="671"/>
                        <a:pt x="239" y="671"/>
                        <a:pt x="239" y="671"/>
                      </a:cubicBezTo>
                      <a:cubicBezTo>
                        <a:pt x="239" y="671"/>
                        <a:pt x="239" y="671"/>
                        <a:pt x="239" y="671"/>
                      </a:cubicBezTo>
                      <a:cubicBezTo>
                        <a:pt x="239" y="732"/>
                        <a:pt x="239" y="732"/>
                        <a:pt x="239" y="732"/>
                      </a:cubicBezTo>
                      <a:cubicBezTo>
                        <a:pt x="403" y="783"/>
                        <a:pt x="609" y="814"/>
                        <a:pt x="834" y="814"/>
                      </a:cubicBezTo>
                      <a:cubicBezTo>
                        <a:pt x="1058" y="814"/>
                        <a:pt x="1266" y="783"/>
                        <a:pt x="1429" y="731"/>
                      </a:cubicBezTo>
                      <a:cubicBezTo>
                        <a:pt x="1429" y="731"/>
                        <a:pt x="1429" y="731"/>
                        <a:pt x="1429" y="731"/>
                      </a:cubicBezTo>
                      <a:cubicBezTo>
                        <a:pt x="1429" y="367"/>
                        <a:pt x="1429" y="367"/>
                        <a:pt x="1429" y="367"/>
                      </a:cubicBezTo>
                      <a:cubicBezTo>
                        <a:pt x="1429" y="364"/>
                        <a:pt x="1429" y="364"/>
                        <a:pt x="1429" y="364"/>
                      </a:cubicBezTo>
                      <a:cubicBezTo>
                        <a:pt x="1266" y="311"/>
                        <a:pt x="1058" y="280"/>
                        <a:pt x="834" y="280"/>
                      </a:cubicBezTo>
                      <a:cubicBezTo>
                        <a:pt x="609" y="280"/>
                        <a:pt x="403" y="311"/>
                        <a:pt x="239" y="363"/>
                      </a:cubicBezTo>
                      <a:close/>
                      <a:moveTo>
                        <a:pt x="1664" y="425"/>
                      </a:moveTo>
                      <a:cubicBezTo>
                        <a:pt x="1664" y="145"/>
                        <a:pt x="1664" y="145"/>
                        <a:pt x="1664" y="145"/>
                      </a:cubicBezTo>
                      <a:cubicBezTo>
                        <a:pt x="1664" y="65"/>
                        <a:pt x="1599" y="0"/>
                        <a:pt x="1520" y="0"/>
                      </a:cubicBezTo>
                      <a:cubicBezTo>
                        <a:pt x="1441" y="0"/>
                        <a:pt x="1378" y="63"/>
                        <a:pt x="1375" y="139"/>
                      </a:cubicBezTo>
                      <a:cubicBezTo>
                        <a:pt x="1397" y="147"/>
                        <a:pt x="1418" y="156"/>
                        <a:pt x="1438" y="165"/>
                      </a:cubicBezTo>
                      <a:cubicBezTo>
                        <a:pt x="1438" y="145"/>
                        <a:pt x="1438" y="145"/>
                        <a:pt x="1438" y="145"/>
                      </a:cubicBezTo>
                      <a:cubicBezTo>
                        <a:pt x="1438" y="99"/>
                        <a:pt x="1474" y="63"/>
                        <a:pt x="1520" y="63"/>
                      </a:cubicBezTo>
                      <a:cubicBezTo>
                        <a:pt x="1565" y="63"/>
                        <a:pt x="1601" y="99"/>
                        <a:pt x="1601" y="145"/>
                      </a:cubicBezTo>
                      <a:cubicBezTo>
                        <a:pt x="1601" y="432"/>
                        <a:pt x="1601" y="432"/>
                        <a:pt x="1601" y="432"/>
                      </a:cubicBezTo>
                      <a:cubicBezTo>
                        <a:pt x="1593" y="529"/>
                        <a:pt x="1481" y="718"/>
                        <a:pt x="1481" y="718"/>
                      </a:cubicBezTo>
                      <a:cubicBezTo>
                        <a:pt x="1481" y="835"/>
                        <a:pt x="1481" y="835"/>
                        <a:pt x="1481" y="835"/>
                      </a:cubicBezTo>
                      <a:cubicBezTo>
                        <a:pt x="1500" y="805"/>
                        <a:pt x="1536" y="747"/>
                        <a:pt x="1547" y="730"/>
                      </a:cubicBezTo>
                      <a:cubicBezTo>
                        <a:pt x="1547" y="730"/>
                        <a:pt x="1547" y="730"/>
                        <a:pt x="1547" y="730"/>
                      </a:cubicBezTo>
                      <a:cubicBezTo>
                        <a:pt x="1587" y="661"/>
                        <a:pt x="1653" y="542"/>
                        <a:pt x="1664" y="443"/>
                      </a:cubicBezTo>
                      <a:cubicBezTo>
                        <a:pt x="1664" y="443"/>
                        <a:pt x="1664" y="443"/>
                        <a:pt x="1664" y="443"/>
                      </a:cubicBezTo>
                      <a:cubicBezTo>
                        <a:pt x="1664" y="434"/>
                        <a:pt x="1664" y="434"/>
                        <a:pt x="1664" y="434"/>
                      </a:cubicBezTo>
                      <a:cubicBezTo>
                        <a:pt x="1664" y="433"/>
                        <a:pt x="1665" y="432"/>
                        <a:pt x="1665" y="431"/>
                      </a:cubicBezTo>
                      <a:cubicBezTo>
                        <a:pt x="1665" y="429"/>
                        <a:pt x="1665" y="427"/>
                        <a:pt x="1664" y="425"/>
                      </a:cubicBezTo>
                      <a:close/>
                      <a:moveTo>
                        <a:pt x="291" y="139"/>
                      </a:moveTo>
                      <a:cubicBezTo>
                        <a:pt x="288" y="63"/>
                        <a:pt x="224" y="0"/>
                        <a:pt x="145" y="0"/>
                      </a:cubicBezTo>
                      <a:cubicBezTo>
                        <a:pt x="66" y="0"/>
                        <a:pt x="1" y="65"/>
                        <a:pt x="1" y="145"/>
                      </a:cubicBezTo>
                      <a:cubicBezTo>
                        <a:pt x="1" y="425"/>
                        <a:pt x="1" y="425"/>
                        <a:pt x="1" y="425"/>
                      </a:cubicBezTo>
                      <a:cubicBezTo>
                        <a:pt x="0" y="427"/>
                        <a:pt x="0" y="429"/>
                        <a:pt x="0" y="431"/>
                      </a:cubicBezTo>
                      <a:cubicBezTo>
                        <a:pt x="0" y="432"/>
                        <a:pt x="1" y="433"/>
                        <a:pt x="1" y="434"/>
                      </a:cubicBezTo>
                      <a:cubicBezTo>
                        <a:pt x="1" y="443"/>
                        <a:pt x="1" y="443"/>
                        <a:pt x="1" y="443"/>
                      </a:cubicBezTo>
                      <a:cubicBezTo>
                        <a:pt x="1" y="443"/>
                        <a:pt x="1" y="443"/>
                        <a:pt x="1" y="443"/>
                      </a:cubicBezTo>
                      <a:cubicBezTo>
                        <a:pt x="12" y="542"/>
                        <a:pt x="78" y="661"/>
                        <a:pt x="118" y="730"/>
                      </a:cubicBezTo>
                      <a:cubicBezTo>
                        <a:pt x="118" y="730"/>
                        <a:pt x="118" y="730"/>
                        <a:pt x="118" y="730"/>
                      </a:cubicBezTo>
                      <a:cubicBezTo>
                        <a:pt x="129" y="747"/>
                        <a:pt x="165" y="805"/>
                        <a:pt x="184" y="835"/>
                      </a:cubicBezTo>
                      <a:cubicBezTo>
                        <a:pt x="184" y="718"/>
                        <a:pt x="184" y="718"/>
                        <a:pt x="184" y="718"/>
                      </a:cubicBezTo>
                      <a:cubicBezTo>
                        <a:pt x="184" y="718"/>
                        <a:pt x="72" y="529"/>
                        <a:pt x="64" y="432"/>
                      </a:cubicBezTo>
                      <a:cubicBezTo>
                        <a:pt x="64" y="145"/>
                        <a:pt x="64" y="145"/>
                        <a:pt x="64" y="145"/>
                      </a:cubicBezTo>
                      <a:cubicBezTo>
                        <a:pt x="64" y="99"/>
                        <a:pt x="100" y="63"/>
                        <a:pt x="145" y="63"/>
                      </a:cubicBezTo>
                      <a:cubicBezTo>
                        <a:pt x="191" y="63"/>
                        <a:pt x="227" y="99"/>
                        <a:pt x="227" y="145"/>
                      </a:cubicBezTo>
                      <a:cubicBezTo>
                        <a:pt x="227" y="165"/>
                        <a:pt x="227" y="165"/>
                        <a:pt x="227" y="165"/>
                      </a:cubicBezTo>
                      <a:cubicBezTo>
                        <a:pt x="248" y="156"/>
                        <a:pt x="269" y="147"/>
                        <a:pt x="291" y="139"/>
                      </a:cubicBezTo>
                      <a:close/>
                    </a:path>
                  </a:pathLst>
                </a:custGeom>
                <a:solidFill>
                  <a:srgbClr val="0A37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grpSp>
        </p:grpSp>
        <p:sp>
          <p:nvSpPr>
            <p:cNvPr id="44" name="Oval 43">
              <a:extLst>
                <a:ext uri="{FF2B5EF4-FFF2-40B4-BE49-F238E27FC236}">
                  <a16:creationId xmlns:a16="http://schemas.microsoft.com/office/drawing/2014/main" id="{4EDF5203-C8A1-EA42-A99D-9D2434B3EC4A}"/>
                </a:ext>
              </a:extLst>
            </p:cNvPr>
            <p:cNvSpPr/>
            <p:nvPr/>
          </p:nvSpPr>
          <p:spPr>
            <a:xfrm>
              <a:off x="7173813" y="6066703"/>
              <a:ext cx="1125499" cy="1125499"/>
            </a:xfrm>
            <a:prstGeom prst="ellipse">
              <a:avLst/>
            </a:prstGeom>
            <a:grpFill/>
            <a:ln w="38100" cap="flat" cmpd="sng" algn="ctr">
              <a:gradFill flip="none" rotWithShape="1">
                <a:gsLst>
                  <a:gs pos="0">
                    <a:srgbClr val="051934"/>
                  </a:gs>
                  <a:gs pos="100000">
                    <a:srgbClr val="0A3774"/>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12284C"/>
                </a:solidFill>
                <a:effectLst/>
                <a:uLnTx/>
                <a:uFillTx/>
                <a:latin typeface="Open Sans Light"/>
                <a:ea typeface="+mn-ea"/>
                <a:cs typeface="+mn-cs"/>
              </a:endParaRPr>
            </a:p>
          </p:txBody>
        </p:sp>
      </p:grpSp>
      <p:sp>
        <p:nvSpPr>
          <p:cNvPr id="49" name="TextBox 48">
            <a:extLst>
              <a:ext uri="{FF2B5EF4-FFF2-40B4-BE49-F238E27FC236}">
                <a16:creationId xmlns:a16="http://schemas.microsoft.com/office/drawing/2014/main" id="{3CB57CFC-5F16-6F42-BEA8-8A7AB9550888}"/>
              </a:ext>
            </a:extLst>
          </p:cNvPr>
          <p:cNvSpPr txBox="1"/>
          <p:nvPr/>
        </p:nvSpPr>
        <p:spPr>
          <a:xfrm>
            <a:off x="9163883" y="5230199"/>
            <a:ext cx="2180961" cy="38779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B7E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284C"/>
                </a:solidFill>
                <a:effectLst/>
                <a:uLnTx/>
                <a:uFillTx/>
                <a:latin typeface="Open Sans Light"/>
                <a:ea typeface="+mn-ea"/>
                <a:cs typeface="+mn-cs"/>
              </a:rPr>
              <a:t>Admin support</a:t>
            </a:r>
          </a:p>
        </p:txBody>
      </p:sp>
      <p:sp>
        <p:nvSpPr>
          <p:cNvPr id="50" name="TextBox 49">
            <a:extLst>
              <a:ext uri="{FF2B5EF4-FFF2-40B4-BE49-F238E27FC236}">
                <a16:creationId xmlns:a16="http://schemas.microsoft.com/office/drawing/2014/main" id="{57DAE603-BEA4-1C44-B209-F307A3641F90}"/>
              </a:ext>
            </a:extLst>
          </p:cNvPr>
          <p:cNvSpPr txBox="1"/>
          <p:nvPr/>
        </p:nvSpPr>
        <p:spPr>
          <a:xfrm>
            <a:off x="8549783" y="5572339"/>
            <a:ext cx="3409160" cy="77559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B7E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284C"/>
                </a:solidFill>
                <a:effectLst/>
                <a:uLnTx/>
                <a:uFillTx/>
                <a:latin typeface="Open Sans Light"/>
                <a:ea typeface="+mn-ea"/>
                <a:cs typeface="+mn-cs"/>
              </a:rPr>
              <a:t>Guidance on resources required to ensure MS/ HS testing strategy is implemented and enforced properly</a:t>
            </a:r>
          </a:p>
        </p:txBody>
      </p:sp>
      <p:grpSp>
        <p:nvGrpSpPr>
          <p:cNvPr id="51" name="Group 50">
            <a:extLst>
              <a:ext uri="{FF2B5EF4-FFF2-40B4-BE49-F238E27FC236}">
                <a16:creationId xmlns:a16="http://schemas.microsoft.com/office/drawing/2014/main" id="{11418227-EBAE-2C4D-9BE7-E1E6FD909A75}"/>
              </a:ext>
            </a:extLst>
          </p:cNvPr>
          <p:cNvGrpSpPr/>
          <p:nvPr/>
        </p:nvGrpSpPr>
        <p:grpSpPr>
          <a:xfrm>
            <a:off x="9691615" y="4039944"/>
            <a:ext cx="1125499" cy="1125499"/>
            <a:chOff x="9478094" y="2117658"/>
            <a:chExt cx="1125499" cy="1125499"/>
          </a:xfrm>
        </p:grpSpPr>
        <p:grpSp>
          <p:nvGrpSpPr>
            <p:cNvPr id="52" name="Group 51">
              <a:extLst>
                <a:ext uri="{FF2B5EF4-FFF2-40B4-BE49-F238E27FC236}">
                  <a16:creationId xmlns:a16="http://schemas.microsoft.com/office/drawing/2014/main" id="{ECB4D9BA-DF03-704D-A0EA-1890BC6D55AC}"/>
                </a:ext>
              </a:extLst>
            </p:cNvPr>
            <p:cNvGrpSpPr>
              <a:grpSpLocks noChangeAspect="1"/>
            </p:cNvGrpSpPr>
            <p:nvPr/>
          </p:nvGrpSpPr>
          <p:grpSpPr>
            <a:xfrm>
              <a:off x="9618925" y="2258897"/>
              <a:ext cx="843835" cy="843021"/>
              <a:chOff x="6464300" y="2606675"/>
              <a:chExt cx="1646238" cy="1644650"/>
            </a:xfrm>
          </p:grpSpPr>
          <p:sp>
            <p:nvSpPr>
              <p:cNvPr id="54" name="AutoShape 3">
                <a:extLst>
                  <a:ext uri="{FF2B5EF4-FFF2-40B4-BE49-F238E27FC236}">
                    <a16:creationId xmlns:a16="http://schemas.microsoft.com/office/drawing/2014/main" id="{05A59508-FF9F-F444-8520-BE137A4AB2CB}"/>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grpSp>
            <p:nvGrpSpPr>
              <p:cNvPr id="55" name="Group 54">
                <a:extLst>
                  <a:ext uri="{FF2B5EF4-FFF2-40B4-BE49-F238E27FC236}">
                    <a16:creationId xmlns:a16="http://schemas.microsoft.com/office/drawing/2014/main" id="{0C4C4254-C764-4A4C-96EE-F633E0D70D0A}"/>
                  </a:ext>
                </a:extLst>
              </p:cNvPr>
              <p:cNvGrpSpPr/>
              <p:nvPr/>
            </p:nvGrpSpPr>
            <p:grpSpPr>
              <a:xfrm>
                <a:off x="6729413" y="2882900"/>
                <a:ext cx="1123838" cy="1123951"/>
                <a:chOff x="6729413" y="2882900"/>
                <a:chExt cx="1123838" cy="1123951"/>
              </a:xfrm>
            </p:grpSpPr>
            <p:sp>
              <p:nvSpPr>
                <p:cNvPr id="56" name="Freeform 10">
                  <a:extLst>
                    <a:ext uri="{FF2B5EF4-FFF2-40B4-BE49-F238E27FC236}">
                      <a16:creationId xmlns:a16="http://schemas.microsoft.com/office/drawing/2014/main" id="{F614EF6B-E0C9-814E-87D0-B9B966F3462D}"/>
                    </a:ext>
                  </a:extLst>
                </p:cNvPr>
                <p:cNvSpPr>
                  <a:spLocks/>
                </p:cNvSpPr>
                <p:nvPr/>
              </p:nvSpPr>
              <p:spPr bwMode="auto">
                <a:xfrm>
                  <a:off x="7097713" y="2882900"/>
                  <a:ext cx="639763" cy="595313"/>
                </a:xfrm>
                <a:custGeom>
                  <a:avLst/>
                  <a:gdLst>
                    <a:gd name="T0" fmla="*/ 869 w 894"/>
                    <a:gd name="T1" fmla="*/ 310 h 833"/>
                    <a:gd name="T2" fmla="*/ 583 w 894"/>
                    <a:gd name="T3" fmla="*/ 310 h 833"/>
                    <a:gd name="T4" fmla="*/ 583 w 894"/>
                    <a:gd name="T5" fmla="*/ 26 h 833"/>
                    <a:gd name="T6" fmla="*/ 557 w 894"/>
                    <a:gd name="T7" fmla="*/ 0 h 833"/>
                    <a:gd name="T8" fmla="*/ 337 w 894"/>
                    <a:gd name="T9" fmla="*/ 0 h 833"/>
                    <a:gd name="T10" fmla="*/ 311 w 894"/>
                    <a:gd name="T11" fmla="*/ 26 h 833"/>
                    <a:gd name="T12" fmla="*/ 311 w 894"/>
                    <a:gd name="T13" fmla="*/ 310 h 833"/>
                    <a:gd name="T14" fmla="*/ 25 w 894"/>
                    <a:gd name="T15" fmla="*/ 310 h 833"/>
                    <a:gd name="T16" fmla="*/ 0 w 894"/>
                    <a:gd name="T17" fmla="*/ 336 h 833"/>
                    <a:gd name="T18" fmla="*/ 0 w 894"/>
                    <a:gd name="T19" fmla="*/ 555 h 833"/>
                    <a:gd name="T20" fmla="*/ 25 w 894"/>
                    <a:gd name="T21" fmla="*/ 579 h 833"/>
                    <a:gd name="T22" fmla="*/ 311 w 894"/>
                    <a:gd name="T23" fmla="*/ 579 h 833"/>
                    <a:gd name="T24" fmla="*/ 311 w 894"/>
                    <a:gd name="T25" fmla="*/ 701 h 833"/>
                    <a:gd name="T26" fmla="*/ 311 w 894"/>
                    <a:gd name="T27" fmla="*/ 774 h 833"/>
                    <a:gd name="T28" fmla="*/ 311 w 894"/>
                    <a:gd name="T29" fmla="*/ 785 h 833"/>
                    <a:gd name="T30" fmla="*/ 488 w 894"/>
                    <a:gd name="T31" fmla="*/ 794 h 833"/>
                    <a:gd name="T32" fmla="*/ 583 w 894"/>
                    <a:gd name="T33" fmla="*/ 833 h 833"/>
                    <a:gd name="T34" fmla="*/ 583 w 894"/>
                    <a:gd name="T35" fmla="*/ 787 h 833"/>
                    <a:gd name="T36" fmla="*/ 583 w 894"/>
                    <a:gd name="T37" fmla="*/ 787 h 833"/>
                    <a:gd name="T38" fmla="*/ 583 w 894"/>
                    <a:gd name="T39" fmla="*/ 579 h 833"/>
                    <a:gd name="T40" fmla="*/ 869 w 894"/>
                    <a:gd name="T41" fmla="*/ 579 h 833"/>
                    <a:gd name="T42" fmla="*/ 894 w 894"/>
                    <a:gd name="T43" fmla="*/ 555 h 833"/>
                    <a:gd name="T44" fmla="*/ 894 w 894"/>
                    <a:gd name="T45" fmla="*/ 336 h 833"/>
                    <a:gd name="T46" fmla="*/ 869 w 894"/>
                    <a:gd name="T47" fmla="*/ 31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4" h="833">
                      <a:moveTo>
                        <a:pt x="869" y="310"/>
                      </a:moveTo>
                      <a:cubicBezTo>
                        <a:pt x="869" y="310"/>
                        <a:pt x="869" y="310"/>
                        <a:pt x="583" y="310"/>
                      </a:cubicBezTo>
                      <a:cubicBezTo>
                        <a:pt x="583" y="310"/>
                        <a:pt x="583" y="310"/>
                        <a:pt x="583" y="26"/>
                      </a:cubicBezTo>
                      <a:cubicBezTo>
                        <a:pt x="583" y="12"/>
                        <a:pt x="571" y="0"/>
                        <a:pt x="557" y="0"/>
                      </a:cubicBezTo>
                      <a:cubicBezTo>
                        <a:pt x="557" y="0"/>
                        <a:pt x="557" y="0"/>
                        <a:pt x="337" y="0"/>
                      </a:cubicBezTo>
                      <a:cubicBezTo>
                        <a:pt x="323" y="0"/>
                        <a:pt x="311" y="12"/>
                        <a:pt x="311" y="26"/>
                      </a:cubicBezTo>
                      <a:cubicBezTo>
                        <a:pt x="311" y="26"/>
                        <a:pt x="311" y="26"/>
                        <a:pt x="311" y="310"/>
                      </a:cubicBezTo>
                      <a:cubicBezTo>
                        <a:pt x="311" y="310"/>
                        <a:pt x="311" y="310"/>
                        <a:pt x="25" y="310"/>
                      </a:cubicBezTo>
                      <a:cubicBezTo>
                        <a:pt x="11" y="310"/>
                        <a:pt x="0" y="322"/>
                        <a:pt x="0" y="336"/>
                      </a:cubicBezTo>
                      <a:cubicBezTo>
                        <a:pt x="0" y="336"/>
                        <a:pt x="0" y="336"/>
                        <a:pt x="0" y="555"/>
                      </a:cubicBezTo>
                      <a:cubicBezTo>
                        <a:pt x="0" y="569"/>
                        <a:pt x="11" y="579"/>
                        <a:pt x="25" y="579"/>
                      </a:cubicBezTo>
                      <a:cubicBezTo>
                        <a:pt x="25" y="579"/>
                        <a:pt x="25" y="579"/>
                        <a:pt x="311" y="579"/>
                      </a:cubicBezTo>
                      <a:cubicBezTo>
                        <a:pt x="311" y="579"/>
                        <a:pt x="311" y="579"/>
                        <a:pt x="311" y="701"/>
                      </a:cubicBezTo>
                      <a:cubicBezTo>
                        <a:pt x="311" y="722"/>
                        <a:pt x="311" y="746"/>
                        <a:pt x="311" y="774"/>
                      </a:cubicBezTo>
                      <a:cubicBezTo>
                        <a:pt x="311" y="785"/>
                        <a:pt x="311" y="785"/>
                        <a:pt x="311" y="785"/>
                      </a:cubicBezTo>
                      <a:cubicBezTo>
                        <a:pt x="488" y="794"/>
                        <a:pt x="488" y="794"/>
                        <a:pt x="488" y="794"/>
                      </a:cubicBezTo>
                      <a:cubicBezTo>
                        <a:pt x="525" y="796"/>
                        <a:pt x="558" y="811"/>
                        <a:pt x="583" y="833"/>
                      </a:cubicBezTo>
                      <a:cubicBezTo>
                        <a:pt x="583" y="787"/>
                        <a:pt x="583" y="787"/>
                        <a:pt x="583" y="787"/>
                      </a:cubicBezTo>
                      <a:cubicBezTo>
                        <a:pt x="583" y="787"/>
                        <a:pt x="583" y="787"/>
                        <a:pt x="583" y="787"/>
                      </a:cubicBezTo>
                      <a:cubicBezTo>
                        <a:pt x="583" y="787"/>
                        <a:pt x="583" y="787"/>
                        <a:pt x="583" y="579"/>
                      </a:cubicBezTo>
                      <a:cubicBezTo>
                        <a:pt x="583" y="579"/>
                        <a:pt x="583" y="579"/>
                        <a:pt x="869" y="579"/>
                      </a:cubicBezTo>
                      <a:cubicBezTo>
                        <a:pt x="883" y="579"/>
                        <a:pt x="894" y="569"/>
                        <a:pt x="894" y="555"/>
                      </a:cubicBezTo>
                      <a:cubicBezTo>
                        <a:pt x="894" y="555"/>
                        <a:pt x="894" y="555"/>
                        <a:pt x="894" y="336"/>
                      </a:cubicBezTo>
                      <a:cubicBezTo>
                        <a:pt x="894" y="322"/>
                        <a:pt x="883" y="310"/>
                        <a:pt x="869" y="310"/>
                      </a:cubicBezTo>
                      <a:close/>
                    </a:path>
                  </a:pathLst>
                </a:custGeom>
                <a:solidFill>
                  <a:srgbClr val="0A37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sp>
              <p:nvSpPr>
                <p:cNvPr id="57" name="Freeform 16">
                  <a:extLst>
                    <a:ext uri="{FF2B5EF4-FFF2-40B4-BE49-F238E27FC236}">
                      <a16:creationId xmlns:a16="http://schemas.microsoft.com/office/drawing/2014/main" id="{79A708F0-9E96-3244-A10E-D3CAC722DA5C}"/>
                    </a:ext>
                  </a:extLst>
                </p:cNvPr>
                <p:cNvSpPr>
                  <a:spLocks/>
                </p:cNvSpPr>
                <p:nvPr/>
              </p:nvSpPr>
              <p:spPr bwMode="auto">
                <a:xfrm>
                  <a:off x="6729413" y="3465513"/>
                  <a:ext cx="1123838" cy="541338"/>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solidFill>
                  <a:srgbClr val="051934"/>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284C"/>
                    </a:solidFill>
                    <a:effectLst/>
                    <a:uLnTx/>
                    <a:uFillTx/>
                    <a:latin typeface="Open Sans Light"/>
                    <a:ea typeface="+mn-ea"/>
                    <a:cs typeface="+mn-cs"/>
                  </a:endParaRPr>
                </a:p>
              </p:txBody>
            </p:sp>
          </p:grpSp>
        </p:grpSp>
        <p:sp>
          <p:nvSpPr>
            <p:cNvPr id="53" name="Oval 52">
              <a:extLst>
                <a:ext uri="{FF2B5EF4-FFF2-40B4-BE49-F238E27FC236}">
                  <a16:creationId xmlns:a16="http://schemas.microsoft.com/office/drawing/2014/main" id="{E0D663DF-A40C-3D4D-A738-31AC829ED81A}"/>
                </a:ext>
              </a:extLst>
            </p:cNvPr>
            <p:cNvSpPr/>
            <p:nvPr/>
          </p:nvSpPr>
          <p:spPr>
            <a:xfrm>
              <a:off x="9478094" y="2117658"/>
              <a:ext cx="1125499" cy="1125499"/>
            </a:xfrm>
            <a:prstGeom prst="ellipse">
              <a:avLst/>
            </a:prstGeom>
            <a:grpFill/>
            <a:ln w="38100" cap="flat" cmpd="sng" algn="ctr">
              <a:gradFill flip="none" rotWithShape="1">
                <a:gsLst>
                  <a:gs pos="0">
                    <a:srgbClr val="051934"/>
                  </a:gs>
                  <a:gs pos="100000">
                    <a:srgbClr val="0A3774"/>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12284C"/>
                </a:solidFill>
                <a:effectLst/>
                <a:uLnTx/>
                <a:uFillTx/>
                <a:latin typeface="Open Sans Light"/>
                <a:ea typeface="+mn-ea"/>
                <a:cs typeface="+mn-cs"/>
              </a:endParaRPr>
            </a:p>
          </p:txBody>
        </p:sp>
      </p:grpSp>
    </p:spTree>
    <p:extLst>
      <p:ext uri="{BB962C8B-B14F-4D97-AF65-F5344CB8AC3E}">
        <p14:creationId xmlns:p14="http://schemas.microsoft.com/office/powerpoint/2010/main" val="278751480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52C7A98-63A7-D04D-907C-BB9F01058D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6400800"/>
          </a:xfrm>
          <a:prstGeom prst="rect">
            <a:avLst/>
          </a:prstGeom>
        </p:spPr>
      </p:pic>
    </p:spTree>
    <p:extLst>
      <p:ext uri="{BB962C8B-B14F-4D97-AF65-F5344CB8AC3E}">
        <p14:creationId xmlns:p14="http://schemas.microsoft.com/office/powerpoint/2010/main" val="56906458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a:extLst>
              <a:ext uri="{FF2B5EF4-FFF2-40B4-BE49-F238E27FC236}">
                <a16:creationId xmlns:a16="http://schemas.microsoft.com/office/drawing/2014/main" id="{0BC02427-0799-EE45-894F-ADFC6645D807}"/>
              </a:ext>
            </a:extLst>
          </p:cNvPr>
          <p:cNvPicPr>
            <a:picLocks noGrp="1" noChangeAspect="1"/>
          </p:cNvPicPr>
          <p:nvPr>
            <p:ph sz="quarter" idx="4"/>
          </p:nvPr>
        </p:nvPicPr>
        <p:blipFill>
          <a:blip r:embed="rId3">
            <a:extLst>
              <a:ext uri="{28A0092B-C50C-407E-A947-70E740481C1C}">
                <a14:useLocalDpi xmlns:a14="http://schemas.microsoft.com/office/drawing/2010/main" val="0"/>
              </a:ext>
            </a:extLst>
          </a:blip>
          <a:stretch>
            <a:fillRect/>
          </a:stretch>
        </p:blipFill>
        <p:spPr>
          <a:xfrm>
            <a:off x="333760" y="2057400"/>
            <a:ext cx="11660206" cy="1316260"/>
          </a:xfrm>
        </p:spPr>
      </p:pic>
      <p:sp>
        <p:nvSpPr>
          <p:cNvPr id="16" name="Title 15">
            <a:extLst>
              <a:ext uri="{FF2B5EF4-FFF2-40B4-BE49-F238E27FC236}">
                <a16:creationId xmlns:a16="http://schemas.microsoft.com/office/drawing/2014/main" id="{CD058B33-7C73-DB4A-B838-AAB2AEF7D1C7}"/>
              </a:ext>
            </a:extLst>
          </p:cNvPr>
          <p:cNvSpPr>
            <a:spLocks noGrp="1"/>
          </p:cNvSpPr>
          <p:nvPr>
            <p:ph type="title"/>
          </p:nvPr>
        </p:nvSpPr>
        <p:spPr>
          <a:xfrm>
            <a:off x="533400" y="603250"/>
            <a:ext cx="10515600" cy="1149351"/>
          </a:xfrm>
        </p:spPr>
        <p:txBody>
          <a:bodyPr>
            <a:noAutofit/>
          </a:bodyPr>
          <a:lstStyle/>
          <a:p>
            <a:pPr algn="ctr"/>
            <a:r>
              <a:rPr lang="en-US" sz="3800" b="1" dirty="0">
                <a:solidFill>
                  <a:schemeClr val="tx2"/>
                </a:solidFill>
                <a:latin typeface="+mn-lt"/>
              </a:rPr>
              <a:t>Partners who contribute to Navigating Change</a:t>
            </a:r>
          </a:p>
        </p:txBody>
      </p:sp>
      <p:pic>
        <p:nvPicPr>
          <p:cNvPr id="5" name="Picture 4">
            <a:extLst>
              <a:ext uri="{FF2B5EF4-FFF2-40B4-BE49-F238E27FC236}">
                <a16:creationId xmlns:a16="http://schemas.microsoft.com/office/drawing/2014/main" id="{02E02252-C391-E44C-9E41-CBC50900399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8548" y="3429000"/>
            <a:ext cx="4037305" cy="2733158"/>
          </a:xfrm>
          <a:prstGeom prst="rect">
            <a:avLst/>
          </a:prstGeom>
        </p:spPr>
      </p:pic>
    </p:spTree>
    <p:extLst>
      <p:ext uri="{BB962C8B-B14F-4D97-AF65-F5344CB8AC3E}">
        <p14:creationId xmlns:p14="http://schemas.microsoft.com/office/powerpoint/2010/main" val="24223188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AB401A-631D-E947-9CB8-7F7A3DBDEBA3}"/>
              </a:ext>
            </a:extLst>
          </p:cNvPr>
          <p:cNvSpPr>
            <a:spLocks noGrp="1"/>
          </p:cNvSpPr>
          <p:nvPr>
            <p:ph type="title"/>
          </p:nvPr>
        </p:nvSpPr>
        <p:spPr>
          <a:xfrm>
            <a:off x="762000" y="351856"/>
            <a:ext cx="10515600" cy="1149351"/>
          </a:xfrm>
        </p:spPr>
        <p:txBody>
          <a:bodyPr>
            <a:normAutofit/>
          </a:bodyPr>
          <a:lstStyle/>
          <a:p>
            <a:r>
              <a:rPr lang="en-US" sz="3600" dirty="0">
                <a:latin typeface="+mn-lt"/>
              </a:rPr>
              <a:t>K-12 schools opened in Wisconsin </a:t>
            </a:r>
            <a:br>
              <a:rPr lang="en-US" sz="3600" dirty="0">
                <a:latin typeface="+mn-lt"/>
              </a:rPr>
            </a:br>
            <a:r>
              <a:rPr lang="en-US" sz="3600" dirty="0">
                <a:latin typeface="+mn-lt"/>
              </a:rPr>
              <a:t>following some of the recommended guidelines</a:t>
            </a:r>
          </a:p>
        </p:txBody>
      </p:sp>
      <p:sp>
        <p:nvSpPr>
          <p:cNvPr id="4" name="Rectangle 3">
            <a:extLst>
              <a:ext uri="{FF2B5EF4-FFF2-40B4-BE49-F238E27FC236}">
                <a16:creationId xmlns:a16="http://schemas.microsoft.com/office/drawing/2014/main" id="{78392974-F074-894E-9BCE-15D3E87A17CD}"/>
              </a:ext>
            </a:extLst>
          </p:cNvPr>
          <p:cNvSpPr/>
          <p:nvPr/>
        </p:nvSpPr>
        <p:spPr>
          <a:xfrm>
            <a:off x="838200" y="1863035"/>
            <a:ext cx="4991920" cy="4335541"/>
          </a:xfrm>
          <a:prstGeom prst="rect">
            <a:avLst/>
          </a:prstGeom>
          <a:noFill/>
          <a:ln w="15875" cap="rnd" cmpd="sng" algn="ctr">
            <a:solidFill>
              <a:srgbClr val="082A58"/>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284C"/>
                </a:solidFill>
                <a:effectLst/>
                <a:uLnTx/>
                <a:uFillTx/>
                <a:latin typeface="Open Sans Light"/>
                <a:ea typeface="+mn-ea"/>
                <a:cs typeface="+mn-cs"/>
              </a:rPr>
              <a:t>Summa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284C"/>
                </a:solidFill>
                <a:effectLst/>
                <a:uLnTx/>
                <a:uFillTx/>
                <a:latin typeface="Open Sans Light"/>
                <a:ea typeface="+mn-ea"/>
                <a:cs typeface="+mn-cs"/>
              </a:rPr>
              <a:t>of re-ope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B7EED"/>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87B575F0-15BF-DE47-BAC7-89A3F0B0A61A}"/>
              </a:ext>
            </a:extLst>
          </p:cNvPr>
          <p:cNvSpPr/>
          <p:nvPr/>
        </p:nvSpPr>
        <p:spPr>
          <a:xfrm>
            <a:off x="6065624" y="1863036"/>
            <a:ext cx="4907176" cy="1908863"/>
          </a:xfrm>
          <a:prstGeom prst="rect">
            <a:avLst/>
          </a:prstGeom>
          <a:noFill/>
          <a:ln w="15875" cap="rnd" cmpd="sng" algn="ctr">
            <a:solidFill>
              <a:srgbClr val="082A58"/>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84C"/>
                </a:solidFill>
                <a:effectLst/>
                <a:uLnTx/>
                <a:uFillTx/>
                <a:latin typeface="Open Sans Light"/>
                <a:ea typeface="+mn-ea"/>
                <a:cs typeface="+mn-cs"/>
              </a:rPr>
              <a:t>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B7EED"/>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758D5001-B592-C740-8867-2DA6A6B05082}"/>
              </a:ext>
            </a:extLst>
          </p:cNvPr>
          <p:cNvSpPr/>
          <p:nvPr/>
        </p:nvSpPr>
        <p:spPr>
          <a:xfrm>
            <a:off x="6065624" y="4026877"/>
            <a:ext cx="4907176" cy="2171700"/>
          </a:xfrm>
          <a:prstGeom prst="rect">
            <a:avLst/>
          </a:prstGeom>
          <a:noFill/>
          <a:ln w="15875" cap="rnd" cmpd="sng" algn="ctr">
            <a:solidFill>
              <a:srgbClr val="082A58"/>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84C"/>
                </a:solidFill>
                <a:effectLst/>
                <a:uLnTx/>
                <a:uFillTx/>
                <a:latin typeface="Open Sans Light"/>
                <a:ea typeface="+mn-ea"/>
                <a:cs typeface="+mn-cs"/>
              </a:rPr>
              <a:t>Guidelin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84C"/>
                </a:solidFill>
                <a:effectLst/>
                <a:uLnTx/>
                <a:uFillTx/>
                <a:latin typeface="Open Sans Light"/>
                <a:ea typeface="+mn-ea"/>
                <a:cs typeface="+mn-cs"/>
              </a:rPr>
              <a:t>no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84C"/>
                </a:solidFill>
                <a:effectLst/>
                <a:uLnTx/>
                <a:uFillTx/>
                <a:latin typeface="Open Sans Light"/>
                <a:ea typeface="+mn-ea"/>
                <a:cs typeface="+mn-cs"/>
              </a:rPr>
              <a:t>practic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B7EED"/>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3049EBF9-0C82-EE4C-B1A4-6948125280D1}"/>
              </a:ext>
            </a:extLst>
          </p:cNvPr>
          <p:cNvSpPr/>
          <p:nvPr/>
        </p:nvSpPr>
        <p:spPr>
          <a:xfrm>
            <a:off x="1948541" y="2214939"/>
            <a:ext cx="3888002" cy="4108450"/>
          </a:xfrm>
          <a:prstGeom prst="rect">
            <a:avLst/>
          </a:prstGeom>
          <a:noFill/>
          <a:ln w="15875" cap="rnd" cmpd="sng" algn="ctr">
            <a:noFill/>
            <a:prstDash val="sysDot"/>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5875" cap="rnd" cmpd="sng" algn="ctr">
                <a:solidFill>
                  <a:srgbClr val="2B7EED"/>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Tx/>
              <a:buSzPct val="100000"/>
              <a:buFont typeface="Trebuchet MS" panose="020B0603020202020204" pitchFamily="34" charset="0"/>
              <a:buChar char="​"/>
              <a:tabLst/>
              <a:defRPr/>
            </a:pPr>
            <a:r>
              <a:rPr kumimoji="0" lang="en-US" sz="1400" b="1" i="0" u="none" strike="noStrike" kern="1200" cap="none" spc="0" normalizeH="0" baseline="0" noProof="0" dirty="0">
                <a:ln>
                  <a:noFill/>
                </a:ln>
                <a:solidFill>
                  <a:srgbClr val="12284C"/>
                </a:solidFill>
                <a:effectLst/>
                <a:uLnTx/>
                <a:uFillTx/>
                <a:latin typeface="Open Sans Light"/>
                <a:ea typeface="+mn-ea"/>
                <a:cs typeface="+mn-cs"/>
              </a:rPr>
              <a:t>Background on schools:</a:t>
            </a:r>
          </a:p>
          <a:p>
            <a:pPr marL="291600" marR="0" lvl="1" indent="-194400" algn="l" defTabSz="914400" rtl="0" eaLnBrk="1" fontAlgn="auto" latinLnBrk="0" hangingPunct="1">
              <a:lnSpc>
                <a:spcPct val="100000"/>
              </a:lnSpc>
              <a:spcBef>
                <a:spcPts val="600"/>
              </a:spcBef>
              <a:spcAft>
                <a:spcPts val="0"/>
              </a:spcAft>
              <a:buClr>
                <a:srgbClr val="051934"/>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a:ea typeface="+mn-ea"/>
                <a:cs typeface="+mn-cs"/>
              </a:rPr>
              <a:t>17 rural Wisconsin schools opened and implemented measures to limit the spread (13 week observation period)</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dirty="0">
                <a:ln>
                  <a:noFill/>
                </a:ln>
                <a:solidFill>
                  <a:srgbClr val="12284C"/>
                </a:solidFill>
                <a:effectLst/>
                <a:uLnTx/>
                <a:uFillTx/>
                <a:latin typeface="Open Sans Light"/>
                <a:ea typeface="+mn-ea"/>
                <a:cs typeface="+mn-cs"/>
              </a:rPr>
              <a:t>Mitigation strategies deployed:</a:t>
            </a:r>
            <a:endParaRPr kumimoji="0" lang="en-US" sz="1400" b="0" i="0" u="none" strike="noStrike" kern="1200" cap="none" spc="0" normalizeH="0" baseline="0" noProof="0" dirty="0">
              <a:ln>
                <a:noFill/>
              </a:ln>
              <a:solidFill>
                <a:srgbClr val="12284C"/>
              </a:solidFill>
              <a:effectLst/>
              <a:uLnTx/>
              <a:uFillTx/>
              <a:latin typeface="Open Sans Light"/>
              <a:ea typeface="+mn-ea"/>
              <a:cs typeface="+mn-cs"/>
            </a:endParaRPr>
          </a:p>
          <a:p>
            <a:pPr marL="291600" marR="0" lvl="1" indent="-194400" algn="l" defTabSz="914400" rtl="0" eaLnBrk="1" fontAlgn="auto" latinLnBrk="0" hangingPunct="1">
              <a:lnSpc>
                <a:spcPct val="100000"/>
              </a:lnSpc>
              <a:spcBef>
                <a:spcPts val="600"/>
              </a:spcBef>
              <a:spcAft>
                <a:spcPts val="0"/>
              </a:spcAft>
              <a:buClr>
                <a:srgbClr val="051934"/>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a:ea typeface="+mn-ea"/>
                <a:cs typeface="+mn-cs"/>
              </a:rPr>
              <a:t>Schools distributed 3-5 masks to all students and enforced their use at all times indoors and when within 6 feet of others outdoors</a:t>
            </a:r>
          </a:p>
          <a:p>
            <a:pPr marL="291600" marR="0" lvl="1" indent="-194400" algn="l" defTabSz="914400" rtl="0" eaLnBrk="1" fontAlgn="auto" latinLnBrk="0" hangingPunct="1">
              <a:lnSpc>
                <a:spcPct val="100000"/>
              </a:lnSpc>
              <a:spcBef>
                <a:spcPts val="600"/>
              </a:spcBef>
              <a:spcAft>
                <a:spcPts val="0"/>
              </a:spcAft>
              <a:buClr>
                <a:srgbClr val="051934"/>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a:ea typeface="+mn-ea"/>
                <a:cs typeface="+mn-cs"/>
              </a:rPr>
              <a:t>Developed cohorts of 11-20 students to avoid added mixing with other students</a:t>
            </a:r>
          </a:p>
          <a:p>
            <a:pPr marL="291600" marR="0" lvl="1" indent="-194400" algn="l" defTabSz="914400" rtl="0" eaLnBrk="1" fontAlgn="auto" latinLnBrk="0" hangingPunct="1">
              <a:lnSpc>
                <a:spcPct val="100000"/>
              </a:lnSpc>
              <a:spcBef>
                <a:spcPts val="600"/>
              </a:spcBef>
              <a:spcAft>
                <a:spcPts val="0"/>
              </a:spcAft>
              <a:buClr>
                <a:srgbClr val="051934"/>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a:ea typeface="+mn-ea"/>
                <a:cs typeface="+mn-cs"/>
              </a:rPr>
              <a:t>Staff members work masks, maintained 6 feet distance from others, and limited time in shared indoor spaces</a:t>
            </a:r>
          </a:p>
          <a:p>
            <a:pPr marL="291600" marR="0" lvl="1" indent="-194400" algn="l" defTabSz="914400" rtl="0" eaLnBrk="1" fontAlgn="auto" latinLnBrk="0" hangingPunct="1">
              <a:lnSpc>
                <a:spcPct val="100000"/>
              </a:lnSpc>
              <a:spcBef>
                <a:spcPts val="600"/>
              </a:spcBef>
              <a:spcAft>
                <a:spcPts val="0"/>
              </a:spcAft>
              <a:buClr>
                <a:srgbClr val="051934"/>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a:ea typeface="+mn-ea"/>
                <a:cs typeface="+mn-cs"/>
              </a:rPr>
              <a:t>If a student had symptoms, their siblings were also excluded from school</a:t>
            </a:r>
            <a:endParaRPr kumimoji="0" lang="en-US" sz="1800" b="0" i="0" u="none" strike="noStrike" kern="1200" cap="none" spc="0" normalizeH="0" baseline="0" noProof="0" dirty="0">
              <a:ln>
                <a:noFill/>
              </a:ln>
              <a:solidFill>
                <a:srgbClr val="12284C"/>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1" i="0" u="none" strike="noStrike" kern="1200" cap="none" spc="0" normalizeH="0" baseline="0" noProof="0" dirty="0">
              <a:ln>
                <a:noFill/>
              </a:ln>
              <a:solidFill>
                <a:srgbClr val="2B7EED"/>
              </a:solidFill>
              <a:effectLst/>
              <a:uLnTx/>
              <a:uFillTx/>
              <a:latin typeface="Calibri"/>
              <a:ea typeface="+mn-ea"/>
              <a:cs typeface="+mn-cs"/>
            </a:endParaRPr>
          </a:p>
        </p:txBody>
      </p:sp>
      <p:grpSp>
        <p:nvGrpSpPr>
          <p:cNvPr id="8" name="Group 7">
            <a:extLst>
              <a:ext uri="{FF2B5EF4-FFF2-40B4-BE49-F238E27FC236}">
                <a16:creationId xmlns:a16="http://schemas.microsoft.com/office/drawing/2014/main" id="{B17FC639-A83A-E841-8677-02265DF3C519}"/>
              </a:ext>
            </a:extLst>
          </p:cNvPr>
          <p:cNvGrpSpPr>
            <a:grpSpLocks noChangeAspect="1"/>
          </p:cNvGrpSpPr>
          <p:nvPr/>
        </p:nvGrpSpPr>
        <p:grpSpPr>
          <a:xfrm>
            <a:off x="1058804" y="2386706"/>
            <a:ext cx="701793" cy="701115"/>
            <a:chOff x="5273675" y="2606675"/>
            <a:chExt cx="1646238" cy="1644650"/>
          </a:xfrm>
        </p:grpSpPr>
        <p:sp>
          <p:nvSpPr>
            <p:cNvPr id="9" name="AutoShape 3">
              <a:extLst>
                <a:ext uri="{FF2B5EF4-FFF2-40B4-BE49-F238E27FC236}">
                  <a16:creationId xmlns:a16="http://schemas.microsoft.com/office/drawing/2014/main" id="{B56CC07A-4F24-5146-9002-38F8EB1522F0}"/>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0" name="Group 9">
              <a:extLst>
                <a:ext uri="{FF2B5EF4-FFF2-40B4-BE49-F238E27FC236}">
                  <a16:creationId xmlns:a16="http://schemas.microsoft.com/office/drawing/2014/main" id="{4EBA93CE-4FC1-AE45-9808-01BACE35436A}"/>
                </a:ext>
              </a:extLst>
            </p:cNvPr>
            <p:cNvGrpSpPr/>
            <p:nvPr/>
          </p:nvGrpSpPr>
          <p:grpSpPr>
            <a:xfrm>
              <a:off x="5346302" y="2868613"/>
              <a:ext cx="1504356" cy="1214437"/>
              <a:chOff x="5346302" y="2868613"/>
              <a:chExt cx="1504356" cy="1214437"/>
            </a:xfrm>
          </p:grpSpPr>
          <p:sp>
            <p:nvSpPr>
              <p:cNvPr id="11" name="Freeform 5">
                <a:extLst>
                  <a:ext uri="{FF2B5EF4-FFF2-40B4-BE49-F238E27FC236}">
                    <a16:creationId xmlns:a16="http://schemas.microsoft.com/office/drawing/2014/main" id="{E714E69F-0DC0-6D48-8EA7-67B2614B93D1}"/>
                  </a:ext>
                </a:extLst>
              </p:cNvPr>
              <p:cNvSpPr>
                <a:spLocks noEditPoints="1"/>
              </p:cNvSpPr>
              <p:nvPr/>
            </p:nvSpPr>
            <p:spPr bwMode="auto">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05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Freeform 11">
                <a:extLst>
                  <a:ext uri="{FF2B5EF4-FFF2-40B4-BE49-F238E27FC236}">
                    <a16:creationId xmlns:a16="http://schemas.microsoft.com/office/drawing/2014/main" id="{1DDF9965-11E6-E544-9642-D1B50D739F89}"/>
                  </a:ext>
                </a:extLst>
              </p:cNvPr>
              <p:cNvSpPr>
                <a:spLocks/>
              </p:cNvSpPr>
              <p:nvPr/>
            </p:nvSpPr>
            <p:spPr bwMode="auto">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0A37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13" name="Rectangle 12">
            <a:extLst>
              <a:ext uri="{FF2B5EF4-FFF2-40B4-BE49-F238E27FC236}">
                <a16:creationId xmlns:a16="http://schemas.microsoft.com/office/drawing/2014/main" id="{1353F284-8CF7-E444-B0E3-A56ED103A348}"/>
              </a:ext>
            </a:extLst>
          </p:cNvPr>
          <p:cNvSpPr/>
          <p:nvPr/>
        </p:nvSpPr>
        <p:spPr>
          <a:xfrm>
            <a:off x="7147594" y="1863036"/>
            <a:ext cx="3962284" cy="1893277"/>
          </a:xfrm>
          <a:prstGeom prst="rect">
            <a:avLst/>
          </a:prstGeom>
          <a:noFill/>
          <a:ln w="15875" cap="rnd" cmpd="sng" algn="ctr">
            <a:noFill/>
            <a:prstDash val="sysDot"/>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5875" cap="rnd" cmpd="sng" algn="ctr">
                <a:solidFill>
                  <a:srgbClr val="2B7EED"/>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91600" marR="0" lvl="1" indent="-194400" algn="l" defTabSz="914400" rtl="0" eaLnBrk="1" fontAlgn="auto" latinLnBrk="0" hangingPunct="1">
              <a:lnSpc>
                <a:spcPct val="100000"/>
              </a:lnSpc>
              <a:spcBef>
                <a:spcPts val="600"/>
              </a:spcBef>
              <a:spcAft>
                <a:spcPts val="0"/>
              </a:spcAft>
              <a:buClr>
                <a:srgbClr val="051934"/>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a:ea typeface="+mn-ea"/>
                <a:cs typeface="+mn-cs"/>
              </a:rPr>
              <a:t>Masking compliance ranged from 92-97% (did not vary by age)</a:t>
            </a:r>
          </a:p>
          <a:p>
            <a:pPr marL="291600" marR="0" lvl="1" indent="-194400" algn="l" defTabSz="914400" rtl="0" eaLnBrk="1" fontAlgn="auto" latinLnBrk="0" hangingPunct="1">
              <a:lnSpc>
                <a:spcPct val="100000"/>
              </a:lnSpc>
              <a:spcBef>
                <a:spcPts val="600"/>
              </a:spcBef>
              <a:spcAft>
                <a:spcPts val="0"/>
              </a:spcAft>
              <a:buClr>
                <a:srgbClr val="051934"/>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a:ea typeface="+mn-ea"/>
                <a:cs typeface="+mn-cs"/>
              </a:rPr>
              <a:t>Only 7 out of 4,876 students ( &lt; 1%) were known to receive COVID-19 at school</a:t>
            </a:r>
          </a:p>
          <a:p>
            <a:pPr marL="291600" marR="0" lvl="1" indent="-194400" algn="l" defTabSz="914400" rtl="0" eaLnBrk="1" fontAlgn="auto" latinLnBrk="0" hangingPunct="1">
              <a:lnSpc>
                <a:spcPct val="100000"/>
              </a:lnSpc>
              <a:spcBef>
                <a:spcPts val="600"/>
              </a:spcBef>
              <a:spcAft>
                <a:spcPts val="0"/>
              </a:spcAft>
              <a:buClr>
                <a:srgbClr val="051934"/>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a:ea typeface="+mn-ea"/>
                <a:cs typeface="+mn-cs"/>
              </a:rPr>
              <a:t>0 out of 654 staff received COVID-19 at school (in a time with widespread community transmission)</a:t>
            </a:r>
            <a:endParaRPr kumimoji="0" lang="en-US" sz="1800" b="0" i="0" u="none" strike="noStrike" kern="1200" cap="none" spc="0" normalizeH="0" baseline="0" noProof="0" dirty="0">
              <a:ln>
                <a:noFill/>
              </a:ln>
              <a:solidFill>
                <a:srgbClr val="12284C"/>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1" i="0" u="none" strike="noStrike" kern="1200" cap="none" spc="0" normalizeH="0" baseline="0" noProof="0" dirty="0">
              <a:ln>
                <a:noFill/>
              </a:ln>
              <a:solidFill>
                <a:srgbClr val="2B7EED"/>
              </a:solidFill>
              <a:effectLst/>
              <a:uLnTx/>
              <a:uFillTx/>
              <a:latin typeface="Calibri"/>
              <a:ea typeface="+mn-ea"/>
              <a:cs typeface="+mn-cs"/>
            </a:endParaRPr>
          </a:p>
        </p:txBody>
      </p:sp>
      <p:grpSp>
        <p:nvGrpSpPr>
          <p:cNvPr id="14" name="Group 13">
            <a:extLst>
              <a:ext uri="{FF2B5EF4-FFF2-40B4-BE49-F238E27FC236}">
                <a16:creationId xmlns:a16="http://schemas.microsoft.com/office/drawing/2014/main" id="{37A42F8B-4FFC-064B-9933-0A6F321F4C7C}"/>
              </a:ext>
            </a:extLst>
          </p:cNvPr>
          <p:cNvGrpSpPr>
            <a:grpSpLocks noChangeAspect="1"/>
          </p:cNvGrpSpPr>
          <p:nvPr/>
        </p:nvGrpSpPr>
        <p:grpSpPr>
          <a:xfrm>
            <a:off x="6220317" y="1984011"/>
            <a:ext cx="701793" cy="701793"/>
            <a:chOff x="5272088" y="2605088"/>
            <a:chExt cx="1647825" cy="1647825"/>
          </a:xfrm>
        </p:grpSpPr>
        <p:sp>
          <p:nvSpPr>
            <p:cNvPr id="15" name="AutoShape 3">
              <a:extLst>
                <a:ext uri="{FF2B5EF4-FFF2-40B4-BE49-F238E27FC236}">
                  <a16:creationId xmlns:a16="http://schemas.microsoft.com/office/drawing/2014/main" id="{5F500614-925C-464A-9458-35735C6FA035}"/>
                </a:ext>
              </a:extLst>
            </p:cNvPr>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6" name="Group 15">
              <a:extLst>
                <a:ext uri="{FF2B5EF4-FFF2-40B4-BE49-F238E27FC236}">
                  <a16:creationId xmlns:a16="http://schemas.microsoft.com/office/drawing/2014/main" id="{7414A4A0-059A-3F41-BF49-51BA039F6CD0}"/>
                </a:ext>
              </a:extLst>
            </p:cNvPr>
            <p:cNvGrpSpPr/>
            <p:nvPr/>
          </p:nvGrpSpPr>
          <p:grpSpPr>
            <a:xfrm>
              <a:off x="5538788" y="3116263"/>
              <a:ext cx="1120775" cy="877888"/>
              <a:chOff x="5538788" y="3116263"/>
              <a:chExt cx="1120775" cy="877888"/>
            </a:xfrm>
          </p:grpSpPr>
          <p:sp>
            <p:nvSpPr>
              <p:cNvPr id="17" name="Freeform 12">
                <a:extLst>
                  <a:ext uri="{FF2B5EF4-FFF2-40B4-BE49-F238E27FC236}">
                    <a16:creationId xmlns:a16="http://schemas.microsoft.com/office/drawing/2014/main" id="{5833102B-13B8-2442-9E41-0DC37B7B1988}"/>
                  </a:ext>
                </a:extLst>
              </p:cNvPr>
              <p:cNvSpPr>
                <a:spLocks noEditPoints="1"/>
              </p:cNvSpPr>
              <p:nvPr/>
            </p:nvSpPr>
            <p:spPr bwMode="auto">
              <a:xfrm>
                <a:off x="5927726" y="3116263"/>
                <a:ext cx="701675" cy="485775"/>
              </a:xfrm>
              <a:custGeom>
                <a:avLst/>
                <a:gdLst>
                  <a:gd name="T0" fmla="*/ 24 w 982"/>
                  <a:gd name="T1" fmla="*/ 299 h 680"/>
                  <a:gd name="T2" fmla="*/ 235 w 982"/>
                  <a:gd name="T3" fmla="*/ 299 h 680"/>
                  <a:gd name="T4" fmla="*/ 256 w 982"/>
                  <a:gd name="T5" fmla="*/ 310 h 680"/>
                  <a:gd name="T6" fmla="*/ 323 w 982"/>
                  <a:gd name="T7" fmla="*/ 487 h 680"/>
                  <a:gd name="T8" fmla="*/ 192 w 982"/>
                  <a:gd name="T9" fmla="*/ 480 h 680"/>
                  <a:gd name="T10" fmla="*/ 20 w 982"/>
                  <a:gd name="T11" fmla="*/ 308 h 680"/>
                  <a:gd name="T12" fmla="*/ 24 w 982"/>
                  <a:gd name="T13" fmla="*/ 299 h 680"/>
                  <a:gd name="T14" fmla="*/ 760 w 982"/>
                  <a:gd name="T15" fmla="*/ 298 h 680"/>
                  <a:gd name="T16" fmla="*/ 963 w 982"/>
                  <a:gd name="T17" fmla="*/ 299 h 680"/>
                  <a:gd name="T18" fmla="*/ 967 w 982"/>
                  <a:gd name="T19" fmla="*/ 308 h 680"/>
                  <a:gd name="T20" fmla="*/ 600 w 982"/>
                  <a:gd name="T21" fmla="*/ 676 h 680"/>
                  <a:gd name="T22" fmla="*/ 591 w 982"/>
                  <a:gd name="T23" fmla="*/ 671 h 680"/>
                  <a:gd name="T24" fmla="*/ 591 w 982"/>
                  <a:gd name="T25" fmla="*/ 670 h 680"/>
                  <a:gd name="T26" fmla="*/ 721 w 982"/>
                  <a:gd name="T27" fmla="*/ 325 h 680"/>
                  <a:gd name="T28" fmla="*/ 760 w 982"/>
                  <a:gd name="T29" fmla="*/ 298 h 680"/>
                  <a:gd name="T30" fmla="*/ 314 w 982"/>
                  <a:gd name="T31" fmla="*/ 298 h 680"/>
                  <a:gd name="T32" fmla="*/ 670 w 982"/>
                  <a:gd name="T33" fmla="*/ 298 h 680"/>
                  <a:gd name="T34" fmla="*/ 675 w 982"/>
                  <a:gd name="T35" fmla="*/ 306 h 680"/>
                  <a:gd name="T36" fmla="*/ 573 w 982"/>
                  <a:gd name="T37" fmla="*/ 576 h 680"/>
                  <a:gd name="T38" fmla="*/ 455 w 982"/>
                  <a:gd name="T39" fmla="*/ 493 h 680"/>
                  <a:gd name="T40" fmla="*/ 378 w 982"/>
                  <a:gd name="T41" fmla="*/ 489 h 680"/>
                  <a:gd name="T42" fmla="*/ 309 w 982"/>
                  <a:gd name="T43" fmla="*/ 306 h 680"/>
                  <a:gd name="T44" fmla="*/ 314 w 982"/>
                  <a:gd name="T45" fmla="*/ 298 h 680"/>
                  <a:gd name="T46" fmla="*/ 440 w 982"/>
                  <a:gd name="T47" fmla="*/ 1 h 680"/>
                  <a:gd name="T48" fmla="*/ 544 w 982"/>
                  <a:gd name="T49" fmla="*/ 1 h 680"/>
                  <a:gd name="T50" fmla="*/ 568 w 982"/>
                  <a:gd name="T51" fmla="*/ 14 h 680"/>
                  <a:gd name="T52" fmla="*/ 673 w 982"/>
                  <a:gd name="T53" fmla="*/ 239 h 680"/>
                  <a:gd name="T54" fmla="*/ 668 w 982"/>
                  <a:gd name="T55" fmla="*/ 247 h 680"/>
                  <a:gd name="T56" fmla="*/ 317 w 982"/>
                  <a:gd name="T57" fmla="*/ 247 h 680"/>
                  <a:gd name="T58" fmla="*/ 312 w 982"/>
                  <a:gd name="T59" fmla="*/ 239 h 680"/>
                  <a:gd name="T60" fmla="*/ 418 w 982"/>
                  <a:gd name="T61" fmla="*/ 11 h 680"/>
                  <a:gd name="T62" fmla="*/ 440 w 982"/>
                  <a:gd name="T63" fmla="*/ 1 h 680"/>
                  <a:gd name="T64" fmla="*/ 625 w 982"/>
                  <a:gd name="T65" fmla="*/ 0 h 680"/>
                  <a:gd name="T66" fmla="*/ 749 w 982"/>
                  <a:gd name="T67" fmla="*/ 1 h 680"/>
                  <a:gd name="T68" fmla="*/ 774 w 982"/>
                  <a:gd name="T69" fmla="*/ 14 h 680"/>
                  <a:gd name="T70" fmla="*/ 980 w 982"/>
                  <a:gd name="T71" fmla="*/ 237 h 680"/>
                  <a:gd name="T72" fmla="*/ 977 w 982"/>
                  <a:gd name="T73" fmla="*/ 246 h 680"/>
                  <a:gd name="T74" fmla="*/ 965 w 982"/>
                  <a:gd name="T75" fmla="*/ 248 h 680"/>
                  <a:gd name="T76" fmla="*/ 754 w 982"/>
                  <a:gd name="T77" fmla="*/ 248 h 680"/>
                  <a:gd name="T78" fmla="*/ 720 w 982"/>
                  <a:gd name="T79" fmla="*/ 226 h 680"/>
                  <a:gd name="T80" fmla="*/ 620 w 982"/>
                  <a:gd name="T81" fmla="*/ 8 h 680"/>
                  <a:gd name="T82" fmla="*/ 625 w 982"/>
                  <a:gd name="T83" fmla="*/ 0 h 680"/>
                  <a:gd name="T84" fmla="*/ 360 w 982"/>
                  <a:gd name="T85" fmla="*/ 0 h 680"/>
                  <a:gd name="T86" fmla="*/ 365 w 982"/>
                  <a:gd name="T87" fmla="*/ 8 h 680"/>
                  <a:gd name="T88" fmla="*/ 258 w 982"/>
                  <a:gd name="T89" fmla="*/ 236 h 680"/>
                  <a:gd name="T90" fmla="*/ 242 w 982"/>
                  <a:gd name="T91" fmla="*/ 247 h 680"/>
                  <a:gd name="T92" fmla="*/ 8 w 982"/>
                  <a:gd name="T93" fmla="*/ 247 h 680"/>
                  <a:gd name="T94" fmla="*/ 3 w 982"/>
                  <a:gd name="T95" fmla="*/ 238 h 680"/>
                  <a:gd name="T96" fmla="*/ 84 w 982"/>
                  <a:gd name="T97" fmla="*/ 150 h 680"/>
                  <a:gd name="T98" fmla="*/ 207 w 982"/>
                  <a:gd name="T99" fmla="*/ 16 h 680"/>
                  <a:gd name="T100" fmla="*/ 235 w 982"/>
                  <a:gd name="T101" fmla="*/ 1 h 680"/>
                  <a:gd name="T102" fmla="*/ 360 w 982"/>
                  <a:gd name="T103" fmla="*/ 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82" h="680">
                    <a:moveTo>
                      <a:pt x="24" y="299"/>
                    </a:moveTo>
                    <a:cubicBezTo>
                      <a:pt x="92" y="299"/>
                      <a:pt x="164" y="298"/>
                      <a:pt x="235" y="299"/>
                    </a:cubicBezTo>
                    <a:cubicBezTo>
                      <a:pt x="242" y="299"/>
                      <a:pt x="254" y="304"/>
                      <a:pt x="256" y="310"/>
                    </a:cubicBezTo>
                    <a:cubicBezTo>
                      <a:pt x="279" y="369"/>
                      <a:pt x="300" y="428"/>
                      <a:pt x="323" y="487"/>
                    </a:cubicBezTo>
                    <a:cubicBezTo>
                      <a:pt x="323" y="487"/>
                      <a:pt x="323" y="487"/>
                      <a:pt x="192" y="480"/>
                    </a:cubicBezTo>
                    <a:cubicBezTo>
                      <a:pt x="136" y="422"/>
                      <a:pt x="78" y="366"/>
                      <a:pt x="20" y="308"/>
                    </a:cubicBezTo>
                    <a:cubicBezTo>
                      <a:pt x="17" y="305"/>
                      <a:pt x="19" y="299"/>
                      <a:pt x="24" y="299"/>
                    </a:cubicBezTo>
                    <a:close/>
                    <a:moveTo>
                      <a:pt x="760" y="298"/>
                    </a:moveTo>
                    <a:cubicBezTo>
                      <a:pt x="828" y="299"/>
                      <a:pt x="897" y="299"/>
                      <a:pt x="963" y="299"/>
                    </a:cubicBezTo>
                    <a:cubicBezTo>
                      <a:pt x="968" y="299"/>
                      <a:pt x="971" y="305"/>
                      <a:pt x="967" y="308"/>
                    </a:cubicBezTo>
                    <a:cubicBezTo>
                      <a:pt x="844" y="431"/>
                      <a:pt x="722" y="555"/>
                      <a:pt x="600" y="676"/>
                    </a:cubicBezTo>
                    <a:cubicBezTo>
                      <a:pt x="596" y="680"/>
                      <a:pt x="589" y="676"/>
                      <a:pt x="591" y="671"/>
                    </a:cubicBezTo>
                    <a:cubicBezTo>
                      <a:pt x="591" y="670"/>
                      <a:pt x="591" y="670"/>
                      <a:pt x="591" y="670"/>
                    </a:cubicBezTo>
                    <a:cubicBezTo>
                      <a:pt x="635" y="556"/>
                      <a:pt x="679" y="440"/>
                      <a:pt x="721" y="325"/>
                    </a:cubicBezTo>
                    <a:cubicBezTo>
                      <a:pt x="728" y="304"/>
                      <a:pt x="738" y="298"/>
                      <a:pt x="760" y="298"/>
                    </a:cubicBezTo>
                    <a:close/>
                    <a:moveTo>
                      <a:pt x="314" y="298"/>
                    </a:moveTo>
                    <a:cubicBezTo>
                      <a:pt x="314" y="298"/>
                      <a:pt x="314" y="298"/>
                      <a:pt x="670" y="298"/>
                    </a:cubicBezTo>
                    <a:cubicBezTo>
                      <a:pt x="674" y="298"/>
                      <a:pt x="676" y="302"/>
                      <a:pt x="675" y="306"/>
                    </a:cubicBezTo>
                    <a:cubicBezTo>
                      <a:pt x="641" y="396"/>
                      <a:pt x="606" y="486"/>
                      <a:pt x="573" y="576"/>
                    </a:cubicBezTo>
                    <a:cubicBezTo>
                      <a:pt x="554" y="529"/>
                      <a:pt x="509" y="496"/>
                      <a:pt x="455" y="493"/>
                    </a:cubicBezTo>
                    <a:cubicBezTo>
                      <a:pt x="455" y="493"/>
                      <a:pt x="455" y="493"/>
                      <a:pt x="378" y="489"/>
                    </a:cubicBezTo>
                    <a:cubicBezTo>
                      <a:pt x="373" y="476"/>
                      <a:pt x="358" y="436"/>
                      <a:pt x="309" y="306"/>
                    </a:cubicBezTo>
                    <a:cubicBezTo>
                      <a:pt x="308" y="302"/>
                      <a:pt x="310" y="298"/>
                      <a:pt x="314" y="298"/>
                    </a:cubicBezTo>
                    <a:close/>
                    <a:moveTo>
                      <a:pt x="440" y="1"/>
                    </a:moveTo>
                    <a:cubicBezTo>
                      <a:pt x="474" y="0"/>
                      <a:pt x="509" y="0"/>
                      <a:pt x="544" y="1"/>
                    </a:cubicBezTo>
                    <a:cubicBezTo>
                      <a:pt x="552" y="1"/>
                      <a:pt x="564" y="7"/>
                      <a:pt x="568" y="14"/>
                    </a:cubicBezTo>
                    <a:cubicBezTo>
                      <a:pt x="603" y="87"/>
                      <a:pt x="637" y="162"/>
                      <a:pt x="673" y="239"/>
                    </a:cubicBezTo>
                    <a:cubicBezTo>
                      <a:pt x="674" y="243"/>
                      <a:pt x="672" y="247"/>
                      <a:pt x="668" y="247"/>
                    </a:cubicBezTo>
                    <a:cubicBezTo>
                      <a:pt x="668" y="247"/>
                      <a:pt x="668" y="247"/>
                      <a:pt x="317" y="247"/>
                    </a:cubicBezTo>
                    <a:cubicBezTo>
                      <a:pt x="313" y="247"/>
                      <a:pt x="310" y="243"/>
                      <a:pt x="312" y="239"/>
                    </a:cubicBezTo>
                    <a:cubicBezTo>
                      <a:pt x="347" y="161"/>
                      <a:pt x="382" y="85"/>
                      <a:pt x="418" y="11"/>
                    </a:cubicBezTo>
                    <a:cubicBezTo>
                      <a:pt x="421" y="5"/>
                      <a:pt x="432" y="1"/>
                      <a:pt x="440" y="1"/>
                    </a:cubicBezTo>
                    <a:close/>
                    <a:moveTo>
                      <a:pt x="625" y="0"/>
                    </a:moveTo>
                    <a:cubicBezTo>
                      <a:pt x="669" y="0"/>
                      <a:pt x="710" y="0"/>
                      <a:pt x="749" y="1"/>
                    </a:cubicBezTo>
                    <a:cubicBezTo>
                      <a:pt x="757" y="1"/>
                      <a:pt x="768" y="7"/>
                      <a:pt x="774" y="14"/>
                    </a:cubicBezTo>
                    <a:cubicBezTo>
                      <a:pt x="842" y="87"/>
                      <a:pt x="910" y="161"/>
                      <a:pt x="980" y="237"/>
                    </a:cubicBezTo>
                    <a:cubicBezTo>
                      <a:pt x="982" y="240"/>
                      <a:pt x="981" y="246"/>
                      <a:pt x="977" y="246"/>
                    </a:cubicBezTo>
                    <a:cubicBezTo>
                      <a:pt x="972" y="247"/>
                      <a:pt x="968" y="248"/>
                      <a:pt x="965" y="248"/>
                    </a:cubicBezTo>
                    <a:cubicBezTo>
                      <a:pt x="895" y="248"/>
                      <a:pt x="824" y="247"/>
                      <a:pt x="754" y="248"/>
                    </a:cubicBezTo>
                    <a:cubicBezTo>
                      <a:pt x="736" y="249"/>
                      <a:pt x="726" y="243"/>
                      <a:pt x="720" y="226"/>
                    </a:cubicBezTo>
                    <a:cubicBezTo>
                      <a:pt x="688" y="155"/>
                      <a:pt x="654" y="84"/>
                      <a:pt x="620" y="8"/>
                    </a:cubicBezTo>
                    <a:cubicBezTo>
                      <a:pt x="618" y="5"/>
                      <a:pt x="621" y="0"/>
                      <a:pt x="625" y="0"/>
                    </a:cubicBezTo>
                    <a:close/>
                    <a:moveTo>
                      <a:pt x="360" y="0"/>
                    </a:moveTo>
                    <a:cubicBezTo>
                      <a:pt x="364" y="0"/>
                      <a:pt x="366" y="5"/>
                      <a:pt x="365" y="8"/>
                    </a:cubicBezTo>
                    <a:cubicBezTo>
                      <a:pt x="327" y="87"/>
                      <a:pt x="293" y="161"/>
                      <a:pt x="258" y="236"/>
                    </a:cubicBezTo>
                    <a:cubicBezTo>
                      <a:pt x="256" y="241"/>
                      <a:pt x="248" y="246"/>
                      <a:pt x="242" y="247"/>
                    </a:cubicBezTo>
                    <a:cubicBezTo>
                      <a:pt x="167" y="247"/>
                      <a:pt x="90" y="247"/>
                      <a:pt x="8" y="247"/>
                    </a:cubicBezTo>
                    <a:cubicBezTo>
                      <a:pt x="3" y="247"/>
                      <a:pt x="0" y="241"/>
                      <a:pt x="3" y="238"/>
                    </a:cubicBezTo>
                    <a:cubicBezTo>
                      <a:pt x="33" y="206"/>
                      <a:pt x="58" y="178"/>
                      <a:pt x="84" y="150"/>
                    </a:cubicBezTo>
                    <a:cubicBezTo>
                      <a:pt x="125" y="104"/>
                      <a:pt x="166" y="59"/>
                      <a:pt x="207" y="16"/>
                    </a:cubicBezTo>
                    <a:cubicBezTo>
                      <a:pt x="214" y="9"/>
                      <a:pt x="225" y="1"/>
                      <a:pt x="235" y="1"/>
                    </a:cubicBezTo>
                    <a:cubicBezTo>
                      <a:pt x="274" y="0"/>
                      <a:pt x="314" y="0"/>
                      <a:pt x="360" y="0"/>
                    </a:cubicBezTo>
                    <a:close/>
                  </a:path>
                </a:pathLst>
              </a:custGeom>
              <a:solidFill>
                <a:srgbClr val="0A37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Freeform 13">
                <a:extLst>
                  <a:ext uri="{FF2B5EF4-FFF2-40B4-BE49-F238E27FC236}">
                    <a16:creationId xmlns:a16="http://schemas.microsoft.com/office/drawing/2014/main" id="{8AE85548-C744-E64C-8D74-AB2CED4A2867}"/>
                  </a:ext>
                </a:extLst>
              </p:cNvPr>
              <p:cNvSpPr>
                <a:spLocks noEditPoints="1"/>
              </p:cNvSpPr>
              <p:nvPr/>
            </p:nvSpPr>
            <p:spPr bwMode="auto">
              <a:xfrm>
                <a:off x="5538788" y="3486151"/>
                <a:ext cx="1120775" cy="508000"/>
              </a:xfrm>
              <a:custGeom>
                <a:avLst/>
                <a:gdLst>
                  <a:gd name="T0" fmla="*/ 552 w 1569"/>
                  <a:gd name="T1" fmla="*/ 42 h 710"/>
                  <a:gd name="T2" fmla="*/ 454 w 1569"/>
                  <a:gd name="T3" fmla="*/ 68 h 710"/>
                  <a:gd name="T4" fmla="*/ 47 w 1569"/>
                  <a:gd name="T5" fmla="*/ 298 h 710"/>
                  <a:gd name="T6" fmla="*/ 47 w 1569"/>
                  <a:gd name="T7" fmla="*/ 657 h 710"/>
                  <a:gd name="T8" fmla="*/ 467 w 1569"/>
                  <a:gd name="T9" fmla="*/ 495 h 710"/>
                  <a:gd name="T10" fmla="*/ 586 w 1569"/>
                  <a:gd name="T11" fmla="*/ 473 h 710"/>
                  <a:gd name="T12" fmla="*/ 610 w 1569"/>
                  <a:gd name="T13" fmla="*/ 473 h 710"/>
                  <a:gd name="T14" fmla="*/ 778 w 1569"/>
                  <a:gd name="T15" fmla="*/ 486 h 710"/>
                  <a:gd name="T16" fmla="*/ 844 w 1569"/>
                  <a:gd name="T17" fmla="*/ 488 h 710"/>
                  <a:gd name="T18" fmla="*/ 1120 w 1569"/>
                  <a:gd name="T19" fmla="*/ 446 h 710"/>
                  <a:gd name="T20" fmla="*/ 1138 w 1569"/>
                  <a:gd name="T21" fmla="*/ 440 h 710"/>
                  <a:gd name="T22" fmla="*/ 1436 w 1569"/>
                  <a:gd name="T23" fmla="*/ 244 h 710"/>
                  <a:gd name="T24" fmla="*/ 1501 w 1569"/>
                  <a:gd name="T25" fmla="*/ 168 h 710"/>
                  <a:gd name="T26" fmla="*/ 1496 w 1569"/>
                  <a:gd name="T27" fmla="*/ 94 h 710"/>
                  <a:gd name="T28" fmla="*/ 1460 w 1569"/>
                  <a:gd name="T29" fmla="*/ 80 h 710"/>
                  <a:gd name="T30" fmla="*/ 1419 w 1569"/>
                  <a:gd name="T31" fmla="*/ 98 h 710"/>
                  <a:gd name="T32" fmla="*/ 1351 w 1569"/>
                  <a:gd name="T33" fmla="*/ 173 h 710"/>
                  <a:gd name="T34" fmla="*/ 1132 w 1569"/>
                  <a:gd name="T35" fmla="*/ 309 h 710"/>
                  <a:gd name="T36" fmla="*/ 1123 w 1569"/>
                  <a:gd name="T37" fmla="*/ 312 h 710"/>
                  <a:gd name="T38" fmla="*/ 1007 w 1569"/>
                  <a:gd name="T39" fmla="*/ 328 h 710"/>
                  <a:gd name="T40" fmla="*/ 847 w 1569"/>
                  <a:gd name="T41" fmla="*/ 297 h 710"/>
                  <a:gd name="T42" fmla="*/ 812 w 1569"/>
                  <a:gd name="T43" fmla="*/ 282 h 710"/>
                  <a:gd name="T44" fmla="*/ 776 w 1569"/>
                  <a:gd name="T45" fmla="*/ 220 h 710"/>
                  <a:gd name="T46" fmla="*/ 828 w 1569"/>
                  <a:gd name="T47" fmla="*/ 172 h 710"/>
                  <a:gd name="T48" fmla="*/ 997 w 1569"/>
                  <a:gd name="T49" fmla="*/ 156 h 710"/>
                  <a:gd name="T50" fmla="*/ 1039 w 1569"/>
                  <a:gd name="T51" fmla="*/ 111 h 710"/>
                  <a:gd name="T52" fmla="*/ 995 w 1569"/>
                  <a:gd name="T53" fmla="*/ 64 h 710"/>
                  <a:gd name="T54" fmla="*/ 562 w 1569"/>
                  <a:gd name="T55" fmla="*/ 42 h 710"/>
                  <a:gd name="T56" fmla="*/ 552 w 1569"/>
                  <a:gd name="T57" fmla="*/ 42 h 710"/>
                  <a:gd name="T58" fmla="*/ 551 w 1569"/>
                  <a:gd name="T59" fmla="*/ 0 h 710"/>
                  <a:gd name="T60" fmla="*/ 563 w 1569"/>
                  <a:gd name="T61" fmla="*/ 0 h 710"/>
                  <a:gd name="T62" fmla="*/ 997 w 1569"/>
                  <a:gd name="T63" fmla="*/ 21 h 710"/>
                  <a:gd name="T64" fmla="*/ 1083 w 1569"/>
                  <a:gd name="T65" fmla="*/ 112 h 710"/>
                  <a:gd name="T66" fmla="*/ 1001 w 1569"/>
                  <a:gd name="T67" fmla="*/ 202 h 710"/>
                  <a:gd name="T68" fmla="*/ 832 w 1569"/>
                  <a:gd name="T69" fmla="*/ 217 h 710"/>
                  <a:gd name="T70" fmla="*/ 828 w 1569"/>
                  <a:gd name="T71" fmla="*/ 243 h 710"/>
                  <a:gd name="T72" fmla="*/ 864 w 1569"/>
                  <a:gd name="T73" fmla="*/ 257 h 710"/>
                  <a:gd name="T74" fmla="*/ 1007 w 1569"/>
                  <a:gd name="T75" fmla="*/ 284 h 710"/>
                  <a:gd name="T76" fmla="*/ 1111 w 1569"/>
                  <a:gd name="T77" fmla="*/ 269 h 710"/>
                  <a:gd name="T78" fmla="*/ 1120 w 1569"/>
                  <a:gd name="T79" fmla="*/ 267 h 710"/>
                  <a:gd name="T80" fmla="*/ 1317 w 1569"/>
                  <a:gd name="T81" fmla="*/ 146 h 710"/>
                  <a:gd name="T82" fmla="*/ 1385 w 1569"/>
                  <a:gd name="T83" fmla="*/ 70 h 710"/>
                  <a:gd name="T84" fmla="*/ 1459 w 1569"/>
                  <a:gd name="T85" fmla="*/ 37 h 710"/>
                  <a:gd name="T86" fmla="*/ 1526 w 1569"/>
                  <a:gd name="T87" fmla="*/ 62 h 710"/>
                  <a:gd name="T88" fmla="*/ 1535 w 1569"/>
                  <a:gd name="T89" fmla="*/ 198 h 710"/>
                  <a:gd name="T90" fmla="*/ 1468 w 1569"/>
                  <a:gd name="T91" fmla="*/ 272 h 710"/>
                  <a:gd name="T92" fmla="*/ 1151 w 1569"/>
                  <a:gd name="T93" fmla="*/ 483 h 710"/>
                  <a:gd name="T94" fmla="*/ 1133 w 1569"/>
                  <a:gd name="T95" fmla="*/ 489 h 710"/>
                  <a:gd name="T96" fmla="*/ 844 w 1569"/>
                  <a:gd name="T97" fmla="*/ 532 h 710"/>
                  <a:gd name="T98" fmla="*/ 774 w 1569"/>
                  <a:gd name="T99" fmla="*/ 529 h 710"/>
                  <a:gd name="T100" fmla="*/ 605 w 1569"/>
                  <a:gd name="T101" fmla="*/ 517 h 710"/>
                  <a:gd name="T102" fmla="*/ 585 w 1569"/>
                  <a:gd name="T103" fmla="*/ 517 h 710"/>
                  <a:gd name="T104" fmla="*/ 482 w 1569"/>
                  <a:gd name="T105" fmla="*/ 536 h 710"/>
                  <a:gd name="T106" fmla="*/ 30 w 1569"/>
                  <a:gd name="T107" fmla="*/ 708 h 710"/>
                  <a:gd name="T108" fmla="*/ 22 w 1569"/>
                  <a:gd name="T109" fmla="*/ 710 h 710"/>
                  <a:gd name="T110" fmla="*/ 0 w 1569"/>
                  <a:gd name="T111" fmla="*/ 689 h 710"/>
                  <a:gd name="T112" fmla="*/ 0 w 1569"/>
                  <a:gd name="T113" fmla="*/ 285 h 710"/>
                  <a:gd name="T114" fmla="*/ 11 w 1569"/>
                  <a:gd name="T115" fmla="*/ 266 h 710"/>
                  <a:gd name="T116" fmla="*/ 431 w 1569"/>
                  <a:gd name="T117" fmla="*/ 30 h 710"/>
                  <a:gd name="T118" fmla="*/ 551 w 1569"/>
                  <a:gd name="T119" fmla="*/ 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9" h="710">
                    <a:moveTo>
                      <a:pt x="552" y="42"/>
                    </a:moveTo>
                    <a:cubicBezTo>
                      <a:pt x="517" y="42"/>
                      <a:pt x="484" y="51"/>
                      <a:pt x="454" y="68"/>
                    </a:cubicBezTo>
                    <a:cubicBezTo>
                      <a:pt x="454" y="68"/>
                      <a:pt x="454" y="68"/>
                      <a:pt x="47" y="298"/>
                    </a:cubicBezTo>
                    <a:cubicBezTo>
                      <a:pt x="47" y="298"/>
                      <a:pt x="47" y="298"/>
                      <a:pt x="47" y="657"/>
                    </a:cubicBezTo>
                    <a:cubicBezTo>
                      <a:pt x="47" y="657"/>
                      <a:pt x="47" y="657"/>
                      <a:pt x="467" y="495"/>
                    </a:cubicBezTo>
                    <a:cubicBezTo>
                      <a:pt x="505" y="480"/>
                      <a:pt x="545" y="473"/>
                      <a:pt x="586" y="473"/>
                    </a:cubicBezTo>
                    <a:cubicBezTo>
                      <a:pt x="594" y="473"/>
                      <a:pt x="602" y="473"/>
                      <a:pt x="610" y="473"/>
                    </a:cubicBezTo>
                    <a:cubicBezTo>
                      <a:pt x="610" y="473"/>
                      <a:pt x="610" y="473"/>
                      <a:pt x="778" y="486"/>
                    </a:cubicBezTo>
                    <a:cubicBezTo>
                      <a:pt x="800" y="487"/>
                      <a:pt x="822" y="488"/>
                      <a:pt x="844" y="488"/>
                    </a:cubicBezTo>
                    <a:cubicBezTo>
                      <a:pt x="938" y="488"/>
                      <a:pt x="1031" y="474"/>
                      <a:pt x="1120" y="446"/>
                    </a:cubicBezTo>
                    <a:cubicBezTo>
                      <a:pt x="1120" y="446"/>
                      <a:pt x="1120" y="446"/>
                      <a:pt x="1138" y="440"/>
                    </a:cubicBezTo>
                    <a:cubicBezTo>
                      <a:pt x="1254" y="404"/>
                      <a:pt x="1357" y="337"/>
                      <a:pt x="1436" y="244"/>
                    </a:cubicBezTo>
                    <a:cubicBezTo>
                      <a:pt x="1436" y="244"/>
                      <a:pt x="1436" y="244"/>
                      <a:pt x="1501" y="168"/>
                    </a:cubicBezTo>
                    <a:cubicBezTo>
                      <a:pt x="1520" y="146"/>
                      <a:pt x="1518" y="113"/>
                      <a:pt x="1496" y="94"/>
                    </a:cubicBezTo>
                    <a:cubicBezTo>
                      <a:pt x="1486" y="84"/>
                      <a:pt x="1473" y="80"/>
                      <a:pt x="1460" y="80"/>
                    </a:cubicBezTo>
                    <a:cubicBezTo>
                      <a:pt x="1444" y="80"/>
                      <a:pt x="1430" y="86"/>
                      <a:pt x="1419" y="98"/>
                    </a:cubicBezTo>
                    <a:cubicBezTo>
                      <a:pt x="1419" y="98"/>
                      <a:pt x="1419" y="98"/>
                      <a:pt x="1351" y="173"/>
                    </a:cubicBezTo>
                    <a:cubicBezTo>
                      <a:pt x="1293" y="238"/>
                      <a:pt x="1217" y="285"/>
                      <a:pt x="1132" y="309"/>
                    </a:cubicBezTo>
                    <a:cubicBezTo>
                      <a:pt x="1132" y="309"/>
                      <a:pt x="1132" y="309"/>
                      <a:pt x="1123" y="312"/>
                    </a:cubicBezTo>
                    <a:cubicBezTo>
                      <a:pt x="1085" y="322"/>
                      <a:pt x="1047" y="328"/>
                      <a:pt x="1007" y="328"/>
                    </a:cubicBezTo>
                    <a:cubicBezTo>
                      <a:pt x="952" y="328"/>
                      <a:pt x="898" y="317"/>
                      <a:pt x="847" y="297"/>
                    </a:cubicBezTo>
                    <a:cubicBezTo>
                      <a:pt x="847" y="297"/>
                      <a:pt x="847" y="297"/>
                      <a:pt x="812" y="282"/>
                    </a:cubicBezTo>
                    <a:cubicBezTo>
                      <a:pt x="787" y="272"/>
                      <a:pt x="772" y="247"/>
                      <a:pt x="776" y="220"/>
                    </a:cubicBezTo>
                    <a:cubicBezTo>
                      <a:pt x="780" y="195"/>
                      <a:pt x="801" y="175"/>
                      <a:pt x="828" y="172"/>
                    </a:cubicBezTo>
                    <a:cubicBezTo>
                      <a:pt x="828" y="172"/>
                      <a:pt x="828" y="172"/>
                      <a:pt x="997" y="156"/>
                    </a:cubicBezTo>
                    <a:cubicBezTo>
                      <a:pt x="1021" y="153"/>
                      <a:pt x="1039" y="135"/>
                      <a:pt x="1039" y="111"/>
                    </a:cubicBezTo>
                    <a:cubicBezTo>
                      <a:pt x="1039" y="86"/>
                      <a:pt x="1020" y="66"/>
                      <a:pt x="995" y="64"/>
                    </a:cubicBezTo>
                    <a:cubicBezTo>
                      <a:pt x="995" y="64"/>
                      <a:pt x="995" y="64"/>
                      <a:pt x="562" y="42"/>
                    </a:cubicBezTo>
                    <a:cubicBezTo>
                      <a:pt x="558" y="42"/>
                      <a:pt x="555" y="42"/>
                      <a:pt x="552" y="42"/>
                    </a:cubicBezTo>
                    <a:close/>
                    <a:moveTo>
                      <a:pt x="551" y="0"/>
                    </a:moveTo>
                    <a:cubicBezTo>
                      <a:pt x="555" y="0"/>
                      <a:pt x="559" y="0"/>
                      <a:pt x="563" y="0"/>
                    </a:cubicBezTo>
                    <a:cubicBezTo>
                      <a:pt x="563" y="0"/>
                      <a:pt x="563" y="0"/>
                      <a:pt x="997" y="21"/>
                    </a:cubicBezTo>
                    <a:cubicBezTo>
                      <a:pt x="1045" y="24"/>
                      <a:pt x="1083" y="63"/>
                      <a:pt x="1083" y="112"/>
                    </a:cubicBezTo>
                    <a:cubicBezTo>
                      <a:pt x="1083" y="158"/>
                      <a:pt x="1048" y="197"/>
                      <a:pt x="1001" y="202"/>
                    </a:cubicBezTo>
                    <a:cubicBezTo>
                      <a:pt x="1001" y="202"/>
                      <a:pt x="1001" y="202"/>
                      <a:pt x="832" y="217"/>
                    </a:cubicBezTo>
                    <a:cubicBezTo>
                      <a:pt x="818" y="218"/>
                      <a:pt x="815" y="238"/>
                      <a:pt x="828" y="243"/>
                    </a:cubicBezTo>
                    <a:cubicBezTo>
                      <a:pt x="828" y="243"/>
                      <a:pt x="828" y="243"/>
                      <a:pt x="864" y="257"/>
                    </a:cubicBezTo>
                    <a:cubicBezTo>
                      <a:pt x="910" y="274"/>
                      <a:pt x="959" y="284"/>
                      <a:pt x="1007" y="284"/>
                    </a:cubicBezTo>
                    <a:cubicBezTo>
                      <a:pt x="1042" y="284"/>
                      <a:pt x="1077" y="279"/>
                      <a:pt x="1111" y="269"/>
                    </a:cubicBezTo>
                    <a:cubicBezTo>
                      <a:pt x="1111" y="269"/>
                      <a:pt x="1111" y="269"/>
                      <a:pt x="1120" y="267"/>
                    </a:cubicBezTo>
                    <a:cubicBezTo>
                      <a:pt x="1196" y="246"/>
                      <a:pt x="1265" y="205"/>
                      <a:pt x="1317" y="146"/>
                    </a:cubicBezTo>
                    <a:cubicBezTo>
                      <a:pt x="1317" y="146"/>
                      <a:pt x="1317" y="146"/>
                      <a:pt x="1385" y="70"/>
                    </a:cubicBezTo>
                    <a:cubicBezTo>
                      <a:pt x="1405" y="48"/>
                      <a:pt x="1432" y="37"/>
                      <a:pt x="1459" y="37"/>
                    </a:cubicBezTo>
                    <a:cubicBezTo>
                      <a:pt x="1482" y="37"/>
                      <a:pt x="1507" y="45"/>
                      <a:pt x="1526" y="62"/>
                    </a:cubicBezTo>
                    <a:cubicBezTo>
                      <a:pt x="1565" y="97"/>
                      <a:pt x="1569" y="158"/>
                      <a:pt x="1535" y="198"/>
                    </a:cubicBezTo>
                    <a:cubicBezTo>
                      <a:pt x="1535" y="198"/>
                      <a:pt x="1535" y="198"/>
                      <a:pt x="1468" y="272"/>
                    </a:cubicBezTo>
                    <a:cubicBezTo>
                      <a:pt x="1384" y="371"/>
                      <a:pt x="1274" y="445"/>
                      <a:pt x="1151" y="483"/>
                    </a:cubicBezTo>
                    <a:cubicBezTo>
                      <a:pt x="1151" y="483"/>
                      <a:pt x="1151" y="483"/>
                      <a:pt x="1133" y="489"/>
                    </a:cubicBezTo>
                    <a:cubicBezTo>
                      <a:pt x="1039" y="517"/>
                      <a:pt x="942" y="532"/>
                      <a:pt x="844" y="532"/>
                    </a:cubicBezTo>
                    <a:cubicBezTo>
                      <a:pt x="821" y="532"/>
                      <a:pt x="797" y="531"/>
                      <a:pt x="774" y="529"/>
                    </a:cubicBezTo>
                    <a:cubicBezTo>
                      <a:pt x="774" y="529"/>
                      <a:pt x="774" y="529"/>
                      <a:pt x="605" y="517"/>
                    </a:cubicBezTo>
                    <a:cubicBezTo>
                      <a:pt x="599" y="517"/>
                      <a:pt x="592" y="517"/>
                      <a:pt x="585" y="517"/>
                    </a:cubicBezTo>
                    <a:cubicBezTo>
                      <a:pt x="550" y="517"/>
                      <a:pt x="515" y="523"/>
                      <a:pt x="482" y="536"/>
                    </a:cubicBezTo>
                    <a:cubicBezTo>
                      <a:pt x="482" y="536"/>
                      <a:pt x="482" y="536"/>
                      <a:pt x="30" y="708"/>
                    </a:cubicBezTo>
                    <a:cubicBezTo>
                      <a:pt x="28" y="709"/>
                      <a:pt x="25" y="710"/>
                      <a:pt x="22" y="710"/>
                    </a:cubicBezTo>
                    <a:cubicBezTo>
                      <a:pt x="10" y="710"/>
                      <a:pt x="0" y="700"/>
                      <a:pt x="0" y="689"/>
                    </a:cubicBezTo>
                    <a:cubicBezTo>
                      <a:pt x="0" y="689"/>
                      <a:pt x="0" y="689"/>
                      <a:pt x="0" y="285"/>
                    </a:cubicBezTo>
                    <a:cubicBezTo>
                      <a:pt x="0" y="277"/>
                      <a:pt x="4" y="270"/>
                      <a:pt x="11" y="266"/>
                    </a:cubicBezTo>
                    <a:cubicBezTo>
                      <a:pt x="11" y="266"/>
                      <a:pt x="11" y="266"/>
                      <a:pt x="431" y="30"/>
                    </a:cubicBezTo>
                    <a:cubicBezTo>
                      <a:pt x="468" y="11"/>
                      <a:pt x="509" y="0"/>
                      <a:pt x="551" y="0"/>
                    </a:cubicBezTo>
                    <a:close/>
                  </a:path>
                </a:pathLst>
              </a:custGeom>
              <a:solidFill>
                <a:srgbClr val="05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9" name="Group 18">
            <a:extLst>
              <a:ext uri="{FF2B5EF4-FFF2-40B4-BE49-F238E27FC236}">
                <a16:creationId xmlns:a16="http://schemas.microsoft.com/office/drawing/2014/main" id="{E40941CA-2F33-3549-B6F1-7A73938C0BE2}"/>
              </a:ext>
            </a:extLst>
          </p:cNvPr>
          <p:cNvGrpSpPr>
            <a:grpSpLocks noChangeAspect="1"/>
          </p:cNvGrpSpPr>
          <p:nvPr/>
        </p:nvGrpSpPr>
        <p:grpSpPr>
          <a:xfrm>
            <a:off x="6220317" y="4953000"/>
            <a:ext cx="701793" cy="701793"/>
            <a:chOff x="5273675" y="2606675"/>
            <a:chExt cx="1644650" cy="1644650"/>
          </a:xfrm>
        </p:grpSpPr>
        <p:sp>
          <p:nvSpPr>
            <p:cNvPr id="20" name="AutoShape 3">
              <a:extLst>
                <a:ext uri="{FF2B5EF4-FFF2-40B4-BE49-F238E27FC236}">
                  <a16:creationId xmlns:a16="http://schemas.microsoft.com/office/drawing/2014/main" id="{D84B05A2-D0DC-AB46-990B-13EC82BFD8EC}"/>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6C22BA9C-7FE4-3943-8F5E-CCFA56E86198}"/>
                </a:ext>
              </a:extLst>
            </p:cNvPr>
            <p:cNvGrpSpPr/>
            <p:nvPr/>
          </p:nvGrpSpPr>
          <p:grpSpPr>
            <a:xfrm>
              <a:off x="5646738" y="2776538"/>
              <a:ext cx="898525" cy="1304925"/>
              <a:chOff x="5646738" y="2776538"/>
              <a:chExt cx="898525" cy="1304925"/>
            </a:xfrm>
          </p:grpSpPr>
          <p:sp>
            <p:nvSpPr>
              <p:cNvPr id="22" name="Freeform 5">
                <a:extLst>
                  <a:ext uri="{FF2B5EF4-FFF2-40B4-BE49-F238E27FC236}">
                    <a16:creationId xmlns:a16="http://schemas.microsoft.com/office/drawing/2014/main" id="{85A5D580-8116-B44F-A8F5-D13FBCFCC1C3}"/>
                  </a:ext>
                </a:extLst>
              </p:cNvPr>
              <p:cNvSpPr>
                <a:spLocks/>
              </p:cNvSpPr>
              <p:nvPr/>
            </p:nvSpPr>
            <p:spPr bwMode="auto">
              <a:xfrm>
                <a:off x="5646738" y="2890838"/>
                <a:ext cx="898525" cy="1190625"/>
              </a:xfrm>
              <a:custGeom>
                <a:avLst/>
                <a:gdLst>
                  <a:gd name="T0" fmla="*/ 22 w 1258"/>
                  <a:gd name="T1" fmla="*/ 1670 h 1670"/>
                  <a:gd name="T2" fmla="*/ 1236 w 1258"/>
                  <a:gd name="T3" fmla="*/ 1670 h 1670"/>
                  <a:gd name="T4" fmla="*/ 1258 w 1258"/>
                  <a:gd name="T5" fmla="*/ 1648 h 1670"/>
                  <a:gd name="T6" fmla="*/ 1258 w 1258"/>
                  <a:gd name="T7" fmla="*/ 22 h 1670"/>
                  <a:gd name="T8" fmla="*/ 1236 w 1258"/>
                  <a:gd name="T9" fmla="*/ 0 h 1670"/>
                  <a:gd name="T10" fmla="*/ 876 w 1258"/>
                  <a:gd name="T11" fmla="*/ 0 h 1670"/>
                  <a:gd name="T12" fmla="*/ 876 w 1258"/>
                  <a:gd name="T13" fmla="*/ 44 h 1670"/>
                  <a:gd name="T14" fmla="*/ 1214 w 1258"/>
                  <a:gd name="T15" fmla="*/ 44 h 1670"/>
                  <a:gd name="T16" fmla="*/ 1214 w 1258"/>
                  <a:gd name="T17" fmla="*/ 1626 h 1670"/>
                  <a:gd name="T18" fmla="*/ 44 w 1258"/>
                  <a:gd name="T19" fmla="*/ 1626 h 1670"/>
                  <a:gd name="T20" fmla="*/ 44 w 1258"/>
                  <a:gd name="T21" fmla="*/ 44 h 1670"/>
                  <a:gd name="T22" fmla="*/ 382 w 1258"/>
                  <a:gd name="T23" fmla="*/ 44 h 1670"/>
                  <a:gd name="T24" fmla="*/ 382 w 1258"/>
                  <a:gd name="T25" fmla="*/ 0 h 1670"/>
                  <a:gd name="T26" fmla="*/ 22 w 1258"/>
                  <a:gd name="T27" fmla="*/ 0 h 1670"/>
                  <a:gd name="T28" fmla="*/ 0 w 1258"/>
                  <a:gd name="T29" fmla="*/ 22 h 1670"/>
                  <a:gd name="T30" fmla="*/ 0 w 1258"/>
                  <a:gd name="T31" fmla="*/ 1648 h 1670"/>
                  <a:gd name="T32" fmla="*/ 22 w 1258"/>
                  <a:gd name="T33" fmla="*/ 1670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8" h="1670">
                    <a:moveTo>
                      <a:pt x="22" y="1670"/>
                    </a:moveTo>
                    <a:cubicBezTo>
                      <a:pt x="1236" y="1670"/>
                      <a:pt x="1236" y="1670"/>
                      <a:pt x="1236" y="1670"/>
                    </a:cubicBezTo>
                    <a:cubicBezTo>
                      <a:pt x="1249" y="1670"/>
                      <a:pt x="1258" y="1661"/>
                      <a:pt x="1258" y="1648"/>
                    </a:cubicBezTo>
                    <a:cubicBezTo>
                      <a:pt x="1258" y="22"/>
                      <a:pt x="1258" y="22"/>
                      <a:pt x="1258" y="22"/>
                    </a:cubicBezTo>
                    <a:cubicBezTo>
                      <a:pt x="1258" y="10"/>
                      <a:pt x="1249" y="0"/>
                      <a:pt x="1236" y="0"/>
                    </a:cubicBez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lose/>
                  </a:path>
                </a:pathLst>
              </a:custGeom>
              <a:solidFill>
                <a:srgbClr val="05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Freeform 29">
                <a:extLst>
                  <a:ext uri="{FF2B5EF4-FFF2-40B4-BE49-F238E27FC236}">
                    <a16:creationId xmlns:a16="http://schemas.microsoft.com/office/drawing/2014/main" id="{55610C9B-F1AC-464A-8191-B48A2FE316B2}"/>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31750 w 600075"/>
                  <a:gd name="connsiteY7" fmla="*/ 971550 h 1093787"/>
                  <a:gd name="connsiteX8" fmla="*/ 31750 w 600075"/>
                  <a:gd name="connsiteY8" fmla="*/ 1062038 h 1093787"/>
                  <a:gd name="connsiteX9" fmla="*/ 122238 w 600075"/>
                  <a:gd name="connsiteY9" fmla="*/ 1062038 h 1093787"/>
                  <a:gd name="connsiteX10" fmla="*/ 122238 w 600075"/>
                  <a:gd name="connsiteY10" fmla="*/ 971550 h 1093787"/>
                  <a:gd name="connsiteX11" fmla="*/ 296727 w 600075"/>
                  <a:gd name="connsiteY11" fmla="*/ 958850 h 1093787"/>
                  <a:gd name="connsiteX12" fmla="*/ 584335 w 600075"/>
                  <a:gd name="connsiteY12" fmla="*/ 958850 h 1093787"/>
                  <a:gd name="connsiteX13" fmla="*/ 600075 w 600075"/>
                  <a:gd name="connsiteY13" fmla="*/ 974725 h 1093787"/>
                  <a:gd name="connsiteX14" fmla="*/ 584335 w 600075"/>
                  <a:gd name="connsiteY14" fmla="*/ 990600 h 1093787"/>
                  <a:gd name="connsiteX15" fmla="*/ 296727 w 600075"/>
                  <a:gd name="connsiteY15" fmla="*/ 990600 h 1093787"/>
                  <a:gd name="connsiteX16" fmla="*/ 280987 w 600075"/>
                  <a:gd name="connsiteY16" fmla="*/ 974725 h 1093787"/>
                  <a:gd name="connsiteX17" fmla="*/ 296727 w 600075"/>
                  <a:gd name="connsiteY17" fmla="*/ 958850 h 1093787"/>
                  <a:gd name="connsiteX18" fmla="*/ 15668 w 600075"/>
                  <a:gd name="connsiteY18" fmla="*/ 941387 h 1093787"/>
                  <a:gd name="connsiteX19" fmla="*/ 136733 w 600075"/>
                  <a:gd name="connsiteY19" fmla="*/ 941387 h 1093787"/>
                  <a:gd name="connsiteX20" fmla="*/ 152400 w 600075"/>
                  <a:gd name="connsiteY20" fmla="*/ 957054 h 1093787"/>
                  <a:gd name="connsiteX21" fmla="*/ 152400 w 600075"/>
                  <a:gd name="connsiteY21" fmla="*/ 1078120 h 1093787"/>
                  <a:gd name="connsiteX22" fmla="*/ 136733 w 600075"/>
                  <a:gd name="connsiteY22" fmla="*/ 1093787 h 1093787"/>
                  <a:gd name="connsiteX23" fmla="*/ 15668 w 600075"/>
                  <a:gd name="connsiteY23" fmla="*/ 1093787 h 1093787"/>
                  <a:gd name="connsiteX24" fmla="*/ 0 w 600075"/>
                  <a:gd name="connsiteY24" fmla="*/ 1078120 h 1093787"/>
                  <a:gd name="connsiteX25" fmla="*/ 0 w 600075"/>
                  <a:gd name="connsiteY25" fmla="*/ 957054 h 1093787"/>
                  <a:gd name="connsiteX26" fmla="*/ 15668 w 600075"/>
                  <a:gd name="connsiteY26" fmla="*/ 941387 h 1093787"/>
                  <a:gd name="connsiteX27" fmla="*/ 296727 w 600075"/>
                  <a:gd name="connsiteY27" fmla="*/ 766762 h 1093787"/>
                  <a:gd name="connsiteX28" fmla="*/ 584335 w 600075"/>
                  <a:gd name="connsiteY28" fmla="*/ 766762 h 1093787"/>
                  <a:gd name="connsiteX29" fmla="*/ 600075 w 600075"/>
                  <a:gd name="connsiteY29" fmla="*/ 782637 h 1093787"/>
                  <a:gd name="connsiteX30" fmla="*/ 584335 w 600075"/>
                  <a:gd name="connsiteY30" fmla="*/ 798512 h 1093787"/>
                  <a:gd name="connsiteX31" fmla="*/ 296727 w 600075"/>
                  <a:gd name="connsiteY31" fmla="*/ 798512 h 1093787"/>
                  <a:gd name="connsiteX32" fmla="*/ 280987 w 600075"/>
                  <a:gd name="connsiteY32" fmla="*/ 782637 h 1093787"/>
                  <a:gd name="connsiteX33" fmla="*/ 296727 w 600075"/>
                  <a:gd name="connsiteY33" fmla="*/ 766762 h 1093787"/>
                  <a:gd name="connsiteX34" fmla="*/ 31750 w 600075"/>
                  <a:gd name="connsiteY34" fmla="*/ 695325 h 1093787"/>
                  <a:gd name="connsiteX35" fmla="*/ 31750 w 600075"/>
                  <a:gd name="connsiteY35" fmla="*/ 785813 h 1093787"/>
                  <a:gd name="connsiteX36" fmla="*/ 122238 w 600075"/>
                  <a:gd name="connsiteY36" fmla="*/ 785813 h 1093787"/>
                  <a:gd name="connsiteX37" fmla="*/ 122238 w 600075"/>
                  <a:gd name="connsiteY37" fmla="*/ 695325 h 1093787"/>
                  <a:gd name="connsiteX38" fmla="*/ 296727 w 600075"/>
                  <a:gd name="connsiteY38" fmla="*/ 681037 h 1093787"/>
                  <a:gd name="connsiteX39" fmla="*/ 584335 w 600075"/>
                  <a:gd name="connsiteY39" fmla="*/ 681037 h 1093787"/>
                  <a:gd name="connsiteX40" fmla="*/ 600075 w 600075"/>
                  <a:gd name="connsiteY40" fmla="*/ 696912 h 1093787"/>
                  <a:gd name="connsiteX41" fmla="*/ 584335 w 600075"/>
                  <a:gd name="connsiteY41" fmla="*/ 712787 h 1093787"/>
                  <a:gd name="connsiteX42" fmla="*/ 296727 w 600075"/>
                  <a:gd name="connsiteY42" fmla="*/ 712787 h 1093787"/>
                  <a:gd name="connsiteX43" fmla="*/ 280987 w 600075"/>
                  <a:gd name="connsiteY43" fmla="*/ 696912 h 1093787"/>
                  <a:gd name="connsiteX44" fmla="*/ 296727 w 600075"/>
                  <a:gd name="connsiteY44" fmla="*/ 681037 h 1093787"/>
                  <a:gd name="connsiteX45" fmla="*/ 15668 w 600075"/>
                  <a:gd name="connsiteY45" fmla="*/ 663575 h 1093787"/>
                  <a:gd name="connsiteX46" fmla="*/ 136733 w 600075"/>
                  <a:gd name="connsiteY46" fmla="*/ 663575 h 1093787"/>
                  <a:gd name="connsiteX47" fmla="*/ 152400 w 600075"/>
                  <a:gd name="connsiteY47" fmla="*/ 679242 h 1093787"/>
                  <a:gd name="connsiteX48" fmla="*/ 152400 w 600075"/>
                  <a:gd name="connsiteY48" fmla="*/ 800308 h 1093787"/>
                  <a:gd name="connsiteX49" fmla="*/ 136733 w 600075"/>
                  <a:gd name="connsiteY49" fmla="*/ 815975 h 1093787"/>
                  <a:gd name="connsiteX50" fmla="*/ 15668 w 600075"/>
                  <a:gd name="connsiteY50" fmla="*/ 815975 h 1093787"/>
                  <a:gd name="connsiteX51" fmla="*/ 0 w 600075"/>
                  <a:gd name="connsiteY51" fmla="*/ 800308 h 1093787"/>
                  <a:gd name="connsiteX52" fmla="*/ 0 w 600075"/>
                  <a:gd name="connsiteY52" fmla="*/ 679242 h 1093787"/>
                  <a:gd name="connsiteX53" fmla="*/ 15668 w 600075"/>
                  <a:gd name="connsiteY53" fmla="*/ 663575 h 1093787"/>
                  <a:gd name="connsiteX54" fmla="*/ 296727 w 600075"/>
                  <a:gd name="connsiteY54" fmla="*/ 485775 h 1093787"/>
                  <a:gd name="connsiteX55" fmla="*/ 584335 w 600075"/>
                  <a:gd name="connsiteY55" fmla="*/ 485775 h 1093787"/>
                  <a:gd name="connsiteX56" fmla="*/ 600075 w 600075"/>
                  <a:gd name="connsiteY56" fmla="*/ 501650 h 1093787"/>
                  <a:gd name="connsiteX57" fmla="*/ 584335 w 600075"/>
                  <a:gd name="connsiteY57" fmla="*/ 517525 h 1093787"/>
                  <a:gd name="connsiteX58" fmla="*/ 296727 w 600075"/>
                  <a:gd name="connsiteY58" fmla="*/ 517525 h 1093787"/>
                  <a:gd name="connsiteX59" fmla="*/ 280987 w 600075"/>
                  <a:gd name="connsiteY59" fmla="*/ 501650 h 1093787"/>
                  <a:gd name="connsiteX60" fmla="*/ 296727 w 600075"/>
                  <a:gd name="connsiteY60" fmla="*/ 485775 h 1093787"/>
                  <a:gd name="connsiteX61" fmla="*/ 31750 w 600075"/>
                  <a:gd name="connsiteY61" fmla="*/ 412750 h 1093787"/>
                  <a:gd name="connsiteX62" fmla="*/ 31750 w 600075"/>
                  <a:gd name="connsiteY62" fmla="*/ 503238 h 1093787"/>
                  <a:gd name="connsiteX63" fmla="*/ 122238 w 600075"/>
                  <a:gd name="connsiteY63" fmla="*/ 503238 h 1093787"/>
                  <a:gd name="connsiteX64" fmla="*/ 122238 w 600075"/>
                  <a:gd name="connsiteY64" fmla="*/ 412750 h 1093787"/>
                  <a:gd name="connsiteX65" fmla="*/ 296727 w 600075"/>
                  <a:gd name="connsiteY65" fmla="*/ 400050 h 1093787"/>
                  <a:gd name="connsiteX66" fmla="*/ 584335 w 600075"/>
                  <a:gd name="connsiteY66" fmla="*/ 400050 h 1093787"/>
                  <a:gd name="connsiteX67" fmla="*/ 600075 w 600075"/>
                  <a:gd name="connsiteY67" fmla="*/ 415925 h 1093787"/>
                  <a:gd name="connsiteX68" fmla="*/ 584335 w 600075"/>
                  <a:gd name="connsiteY68" fmla="*/ 431800 h 1093787"/>
                  <a:gd name="connsiteX69" fmla="*/ 296727 w 600075"/>
                  <a:gd name="connsiteY69" fmla="*/ 431800 h 1093787"/>
                  <a:gd name="connsiteX70" fmla="*/ 280987 w 600075"/>
                  <a:gd name="connsiteY70" fmla="*/ 415925 h 1093787"/>
                  <a:gd name="connsiteX71" fmla="*/ 296727 w 600075"/>
                  <a:gd name="connsiteY71" fmla="*/ 400050 h 1093787"/>
                  <a:gd name="connsiteX72" fmla="*/ 15668 w 600075"/>
                  <a:gd name="connsiteY72" fmla="*/ 382587 h 1093787"/>
                  <a:gd name="connsiteX73" fmla="*/ 136733 w 600075"/>
                  <a:gd name="connsiteY73" fmla="*/ 382587 h 1093787"/>
                  <a:gd name="connsiteX74" fmla="*/ 152400 w 600075"/>
                  <a:gd name="connsiteY74" fmla="*/ 398182 h 1093787"/>
                  <a:gd name="connsiteX75" fmla="*/ 152400 w 600075"/>
                  <a:gd name="connsiteY75" fmla="*/ 519393 h 1093787"/>
                  <a:gd name="connsiteX76" fmla="*/ 136733 w 600075"/>
                  <a:gd name="connsiteY76" fmla="*/ 534987 h 1093787"/>
                  <a:gd name="connsiteX77" fmla="*/ 15668 w 600075"/>
                  <a:gd name="connsiteY77" fmla="*/ 534987 h 1093787"/>
                  <a:gd name="connsiteX78" fmla="*/ 0 w 600075"/>
                  <a:gd name="connsiteY78" fmla="*/ 519393 h 1093787"/>
                  <a:gd name="connsiteX79" fmla="*/ 0 w 600075"/>
                  <a:gd name="connsiteY79" fmla="*/ 398182 h 1093787"/>
                  <a:gd name="connsiteX80" fmla="*/ 15668 w 600075"/>
                  <a:gd name="connsiteY80" fmla="*/ 382587 h 1093787"/>
                  <a:gd name="connsiteX81" fmla="*/ 301266 w 600075"/>
                  <a:gd name="connsiteY81" fmla="*/ 31750 h 1093787"/>
                  <a:gd name="connsiteX82" fmla="*/ 279758 w 600075"/>
                  <a:gd name="connsiteY82" fmla="*/ 36027 h 1093787"/>
                  <a:gd name="connsiteX83" fmla="*/ 246062 w 600075"/>
                  <a:gd name="connsiteY83" fmla="*/ 66675 h 1093787"/>
                  <a:gd name="connsiteX84" fmla="*/ 357187 w 600075"/>
                  <a:gd name="connsiteY84" fmla="*/ 66675 h 1093787"/>
                  <a:gd name="connsiteX85" fmla="*/ 323491 w 600075"/>
                  <a:gd name="connsiteY85" fmla="*/ 36027 h 1093787"/>
                  <a:gd name="connsiteX86" fmla="*/ 301266 w 600075"/>
                  <a:gd name="connsiteY86" fmla="*/ 31750 h 1093787"/>
                  <a:gd name="connsiteX87" fmla="*/ 300832 w 600075"/>
                  <a:gd name="connsiteY87" fmla="*/ 0 h 1093787"/>
                  <a:gd name="connsiteX88" fmla="*/ 373818 w 600075"/>
                  <a:gd name="connsiteY88" fmla="*/ 35602 h 1093787"/>
                  <a:gd name="connsiteX89" fmla="*/ 390275 w 600075"/>
                  <a:gd name="connsiteY89" fmla="*/ 66220 h 1093787"/>
                  <a:gd name="connsiteX90" fmla="*/ 439648 w 600075"/>
                  <a:gd name="connsiteY90" fmla="*/ 66220 h 1093787"/>
                  <a:gd name="connsiteX91" fmla="*/ 446088 w 600075"/>
                  <a:gd name="connsiteY91" fmla="*/ 73340 h 1093787"/>
                  <a:gd name="connsiteX92" fmla="*/ 446088 w 600075"/>
                  <a:gd name="connsiteY92" fmla="*/ 113927 h 1093787"/>
                  <a:gd name="connsiteX93" fmla="*/ 446088 w 600075"/>
                  <a:gd name="connsiteY93" fmla="*/ 145256 h 1093787"/>
                  <a:gd name="connsiteX94" fmla="*/ 446088 w 600075"/>
                  <a:gd name="connsiteY94" fmla="*/ 178010 h 1093787"/>
                  <a:gd name="connsiteX95" fmla="*/ 431062 w 600075"/>
                  <a:gd name="connsiteY95" fmla="*/ 193675 h 1093787"/>
                  <a:gd name="connsiteX96" fmla="*/ 171317 w 600075"/>
                  <a:gd name="connsiteY96" fmla="*/ 193675 h 1093787"/>
                  <a:gd name="connsiteX97" fmla="*/ 155575 w 600075"/>
                  <a:gd name="connsiteY97" fmla="*/ 178010 h 1093787"/>
                  <a:gd name="connsiteX98" fmla="*/ 155575 w 600075"/>
                  <a:gd name="connsiteY98" fmla="*/ 145256 h 1093787"/>
                  <a:gd name="connsiteX99" fmla="*/ 155575 w 600075"/>
                  <a:gd name="connsiteY99" fmla="*/ 113927 h 1093787"/>
                  <a:gd name="connsiteX100" fmla="*/ 155575 w 600075"/>
                  <a:gd name="connsiteY100" fmla="*/ 73340 h 1093787"/>
                  <a:gd name="connsiteX101" fmla="*/ 162731 w 600075"/>
                  <a:gd name="connsiteY101" fmla="*/ 66220 h 1093787"/>
                  <a:gd name="connsiteX102" fmla="*/ 212104 w 600075"/>
                  <a:gd name="connsiteY102" fmla="*/ 66220 h 1093787"/>
                  <a:gd name="connsiteX103" fmla="*/ 227846 w 600075"/>
                  <a:gd name="connsiteY103" fmla="*/ 35602 h 1093787"/>
                  <a:gd name="connsiteX104" fmla="*/ 300832 w 600075"/>
                  <a:gd name="connsiteY104"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31750" y="971550"/>
                    </a:moveTo>
                    <a:lnTo>
                      <a:pt x="31750" y="1062038"/>
                    </a:lnTo>
                    <a:lnTo>
                      <a:pt x="122238" y="1062038"/>
                    </a:lnTo>
                    <a:lnTo>
                      <a:pt x="122238" y="971550"/>
                    </a:ln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8" y="941387"/>
                    </a:moveTo>
                    <a:cubicBezTo>
                      <a:pt x="15668" y="941387"/>
                      <a:pt x="15668" y="941387"/>
                      <a:pt x="136733" y="941387"/>
                    </a:cubicBezTo>
                    <a:cubicBezTo>
                      <a:pt x="145991" y="941387"/>
                      <a:pt x="152400" y="948509"/>
                      <a:pt x="152400" y="957054"/>
                    </a:cubicBezTo>
                    <a:cubicBezTo>
                      <a:pt x="152400" y="957054"/>
                      <a:pt x="152400" y="957054"/>
                      <a:pt x="152400" y="1078120"/>
                    </a:cubicBezTo>
                    <a:cubicBezTo>
                      <a:pt x="152400" y="1086666"/>
                      <a:pt x="145991" y="1093787"/>
                      <a:pt x="136733" y="1093787"/>
                    </a:cubicBezTo>
                    <a:cubicBezTo>
                      <a:pt x="136733" y="1093787"/>
                      <a:pt x="136733" y="1093787"/>
                      <a:pt x="15668" y="1093787"/>
                    </a:cubicBezTo>
                    <a:cubicBezTo>
                      <a:pt x="7122" y="1093787"/>
                      <a:pt x="0" y="1086666"/>
                      <a:pt x="0" y="1078120"/>
                    </a:cubicBezTo>
                    <a:cubicBezTo>
                      <a:pt x="0" y="1078120"/>
                      <a:pt x="0" y="1078120"/>
                      <a:pt x="0" y="957054"/>
                    </a:cubicBezTo>
                    <a:cubicBezTo>
                      <a:pt x="0" y="948509"/>
                      <a:pt x="7122" y="941387"/>
                      <a:pt x="15668"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31750" y="695325"/>
                    </a:moveTo>
                    <a:lnTo>
                      <a:pt x="31750" y="785813"/>
                    </a:lnTo>
                    <a:lnTo>
                      <a:pt x="122238" y="785813"/>
                    </a:lnTo>
                    <a:lnTo>
                      <a:pt x="122238" y="695325"/>
                    </a:ln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8" y="663575"/>
                    </a:moveTo>
                    <a:cubicBezTo>
                      <a:pt x="15668" y="663575"/>
                      <a:pt x="15668" y="663575"/>
                      <a:pt x="136733" y="663575"/>
                    </a:cubicBezTo>
                    <a:cubicBezTo>
                      <a:pt x="145991" y="663575"/>
                      <a:pt x="152400" y="670697"/>
                      <a:pt x="152400" y="679242"/>
                    </a:cubicBezTo>
                    <a:cubicBezTo>
                      <a:pt x="152400" y="679242"/>
                      <a:pt x="152400" y="679242"/>
                      <a:pt x="152400" y="800308"/>
                    </a:cubicBezTo>
                    <a:cubicBezTo>
                      <a:pt x="152400" y="808854"/>
                      <a:pt x="145991" y="815975"/>
                      <a:pt x="136733" y="815975"/>
                    </a:cubicBezTo>
                    <a:cubicBezTo>
                      <a:pt x="136733" y="815975"/>
                      <a:pt x="136733" y="815975"/>
                      <a:pt x="15668" y="815975"/>
                    </a:cubicBezTo>
                    <a:cubicBezTo>
                      <a:pt x="7122" y="815975"/>
                      <a:pt x="0" y="808854"/>
                      <a:pt x="0" y="800308"/>
                    </a:cubicBezTo>
                    <a:cubicBezTo>
                      <a:pt x="0" y="800308"/>
                      <a:pt x="0" y="800308"/>
                      <a:pt x="0" y="679242"/>
                    </a:cubicBezTo>
                    <a:cubicBezTo>
                      <a:pt x="0" y="670697"/>
                      <a:pt x="7122" y="663575"/>
                      <a:pt x="15668"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31750" y="412750"/>
                    </a:moveTo>
                    <a:lnTo>
                      <a:pt x="31750" y="503238"/>
                    </a:lnTo>
                    <a:lnTo>
                      <a:pt x="122238" y="503238"/>
                    </a:lnTo>
                    <a:lnTo>
                      <a:pt x="122238" y="412750"/>
                    </a:ln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8" y="382587"/>
                    </a:moveTo>
                    <a:cubicBezTo>
                      <a:pt x="15668" y="382587"/>
                      <a:pt x="15668" y="382587"/>
                      <a:pt x="136733" y="382587"/>
                    </a:cubicBezTo>
                    <a:cubicBezTo>
                      <a:pt x="145991" y="382587"/>
                      <a:pt x="152400" y="389675"/>
                      <a:pt x="152400" y="398182"/>
                    </a:cubicBezTo>
                    <a:cubicBezTo>
                      <a:pt x="152400" y="398182"/>
                      <a:pt x="152400" y="398182"/>
                      <a:pt x="152400" y="519393"/>
                    </a:cubicBezTo>
                    <a:cubicBezTo>
                      <a:pt x="152400" y="527899"/>
                      <a:pt x="145991" y="534987"/>
                      <a:pt x="136733" y="534987"/>
                    </a:cubicBezTo>
                    <a:cubicBezTo>
                      <a:pt x="136733" y="534987"/>
                      <a:pt x="136733" y="534987"/>
                      <a:pt x="15668" y="534987"/>
                    </a:cubicBezTo>
                    <a:cubicBezTo>
                      <a:pt x="7122" y="534987"/>
                      <a:pt x="0" y="527899"/>
                      <a:pt x="0" y="519393"/>
                    </a:cubicBezTo>
                    <a:cubicBezTo>
                      <a:pt x="0" y="519393"/>
                      <a:pt x="0" y="519393"/>
                      <a:pt x="0" y="398182"/>
                    </a:cubicBezTo>
                    <a:cubicBezTo>
                      <a:pt x="0" y="389675"/>
                      <a:pt x="7122" y="382587"/>
                      <a:pt x="15668"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A37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24" name="Rectangle 23">
            <a:extLst>
              <a:ext uri="{FF2B5EF4-FFF2-40B4-BE49-F238E27FC236}">
                <a16:creationId xmlns:a16="http://schemas.microsoft.com/office/drawing/2014/main" id="{28B61F1F-3E8C-D548-9F08-4A1F864065C8}"/>
              </a:ext>
            </a:extLst>
          </p:cNvPr>
          <p:cNvSpPr/>
          <p:nvPr/>
        </p:nvSpPr>
        <p:spPr>
          <a:xfrm>
            <a:off x="7147594" y="4406366"/>
            <a:ext cx="3825206" cy="2171700"/>
          </a:xfrm>
          <a:prstGeom prst="rect">
            <a:avLst/>
          </a:prstGeom>
          <a:noFill/>
          <a:ln w="15875" cap="rnd" cmpd="sng" algn="ctr">
            <a:noFill/>
            <a:prstDash val="sysDot"/>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5875" cap="rnd" cmpd="sng" algn="ctr">
                <a:solidFill>
                  <a:srgbClr val="2B7EED"/>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91600" marR="0" lvl="1" indent="-194400" algn="l" defTabSz="914400" rtl="0" eaLnBrk="1" fontAlgn="auto" latinLnBrk="0" hangingPunct="1">
              <a:lnSpc>
                <a:spcPct val="100000"/>
              </a:lnSpc>
              <a:spcBef>
                <a:spcPts val="600"/>
              </a:spcBef>
              <a:spcAft>
                <a:spcPts val="0"/>
              </a:spcAft>
              <a:buClr>
                <a:srgbClr val="051934"/>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a:ea typeface="+mn-ea"/>
                <a:cs typeface="+mn-cs"/>
              </a:rPr>
              <a:t>Surveillance testing was not conducted – cannot rule out asymptomatic transmission within the school setting</a:t>
            </a:r>
          </a:p>
          <a:p>
            <a:pPr marL="291600" marR="0" lvl="1" indent="-194400" algn="l" defTabSz="914400" rtl="0" eaLnBrk="1" fontAlgn="auto" latinLnBrk="0" hangingPunct="1">
              <a:lnSpc>
                <a:spcPct val="100000"/>
              </a:lnSpc>
              <a:spcBef>
                <a:spcPts val="600"/>
              </a:spcBef>
              <a:spcAft>
                <a:spcPts val="0"/>
              </a:spcAft>
              <a:buClr>
                <a:srgbClr val="051934"/>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a:ea typeface="+mn-ea"/>
                <a:cs typeface="+mn-cs"/>
              </a:rPr>
              <a:t>All classes and lunch periods were held indoors</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97200" marR="0" lvl="1" indent="0" algn="l" defTabSz="914400" rtl="0" eaLnBrk="1" fontAlgn="auto" latinLnBrk="0" hangingPunct="1">
              <a:lnSpc>
                <a:spcPct val="100000"/>
              </a:lnSpc>
              <a:spcBef>
                <a:spcPts val="0"/>
              </a:spcBef>
              <a:spcAft>
                <a:spcPts val="0"/>
              </a:spcAft>
              <a:buClr>
                <a:srgbClr val="051934"/>
              </a:buClr>
              <a:buSzPct val="100000"/>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1" i="0" u="none" strike="noStrike" kern="1200" cap="none" spc="0" normalizeH="0" baseline="0" noProof="0" dirty="0">
              <a:ln>
                <a:noFill/>
              </a:ln>
              <a:solidFill>
                <a:srgbClr val="2B7EED"/>
              </a:solidFill>
              <a:effectLst/>
              <a:uLnTx/>
              <a:uFillTx/>
              <a:latin typeface="Calibri"/>
              <a:ea typeface="+mn-ea"/>
              <a:cs typeface="+mn-cs"/>
            </a:endParaRPr>
          </a:p>
        </p:txBody>
      </p:sp>
      <p:sp>
        <p:nvSpPr>
          <p:cNvPr id="25" name="ee4pFootnotes">
            <a:extLst>
              <a:ext uri="{FF2B5EF4-FFF2-40B4-BE49-F238E27FC236}">
                <a16:creationId xmlns:a16="http://schemas.microsoft.com/office/drawing/2014/main" id="{30A84E10-D085-4844-8AE1-C849D8B9AFF5}"/>
              </a:ext>
            </a:extLst>
          </p:cNvPr>
          <p:cNvSpPr>
            <a:spLocks noChangeArrowheads="1"/>
          </p:cNvSpPr>
          <p:nvPr/>
        </p:nvSpPr>
        <p:spPr bwMode="auto">
          <a:xfrm>
            <a:off x="11036476" y="5326030"/>
            <a:ext cx="1152861" cy="872547"/>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50000"/>
                  </a:prstClr>
                </a:solidFill>
                <a:effectLst/>
                <a:uLnTx/>
                <a:uFillTx/>
                <a:latin typeface="Open Sans Light"/>
                <a:ea typeface="+mn-ea"/>
                <a:cs typeface="+mn-cs"/>
                <a:sym typeface="+mn-lt"/>
              </a:rPr>
              <a:t>Source: </a:t>
            </a:r>
            <a:r>
              <a:rPr kumimoji="0" lang="en-US" sz="900" b="0" i="0" u="none" strike="noStrike" kern="1200" cap="none" spc="0" normalizeH="0" baseline="0" noProof="0" dirty="0">
                <a:ln>
                  <a:noFill/>
                </a:ln>
                <a:solidFill>
                  <a:prstClr val="white">
                    <a:lumMod val="50000"/>
                  </a:prstClr>
                </a:solidFill>
                <a:effectLst/>
                <a:uLnTx/>
                <a:uFillTx/>
                <a:latin typeface="Open Sans Light"/>
                <a:ea typeface="+mn-ea"/>
                <a:cs typeface="+mn-cs"/>
                <a:sym typeface="+mn-lt"/>
                <a:hlinkClick r:id="rId3"/>
              </a:rPr>
              <a:t>CDC Report on COVID-19 Cases and Transmission in 17 K–12 Schools — Wood County, Wisconsin, August 31–November 29, 2020</a:t>
            </a:r>
            <a:endParaRPr kumimoji="0" lang="en-US" sz="900" b="0" i="0" u="none" strike="noStrike" kern="1200" cap="none" spc="0" normalizeH="0" baseline="0" noProof="0" dirty="0">
              <a:ln>
                <a:noFill/>
              </a:ln>
              <a:solidFill>
                <a:prstClr val="white">
                  <a:lumMod val="50000"/>
                </a:prstClr>
              </a:solidFill>
              <a:effectLst/>
              <a:uLnTx/>
              <a:uFillTx/>
              <a:latin typeface="Open Sans Light"/>
              <a:ea typeface="+mn-ea"/>
              <a:cs typeface="+mn-cs"/>
              <a:sym typeface="+mn-lt"/>
            </a:endParaRPr>
          </a:p>
        </p:txBody>
      </p:sp>
    </p:spTree>
    <p:extLst>
      <p:ext uri="{BB962C8B-B14F-4D97-AF65-F5344CB8AC3E}">
        <p14:creationId xmlns:p14="http://schemas.microsoft.com/office/powerpoint/2010/main" val="34093768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AB401A-631D-E947-9CB8-7F7A3DBDEBA3}"/>
              </a:ext>
            </a:extLst>
          </p:cNvPr>
          <p:cNvSpPr>
            <a:spLocks noGrp="1"/>
          </p:cNvSpPr>
          <p:nvPr>
            <p:ph type="title"/>
          </p:nvPr>
        </p:nvSpPr>
        <p:spPr>
          <a:xfrm>
            <a:off x="838200" y="568327"/>
            <a:ext cx="10515600" cy="1149351"/>
          </a:xfrm>
        </p:spPr>
        <p:txBody>
          <a:bodyPr>
            <a:normAutofit/>
          </a:bodyPr>
          <a:lstStyle/>
          <a:p>
            <a:r>
              <a:rPr lang="en-US" dirty="0">
                <a:latin typeface="+mn-lt"/>
              </a:rPr>
              <a:t>Changes to MS/HS Gating Criteria</a:t>
            </a:r>
          </a:p>
        </p:txBody>
      </p:sp>
      <p:sp>
        <p:nvSpPr>
          <p:cNvPr id="2" name="Rectangle 1">
            <a:extLst>
              <a:ext uri="{FF2B5EF4-FFF2-40B4-BE49-F238E27FC236}">
                <a16:creationId xmlns:a16="http://schemas.microsoft.com/office/drawing/2014/main" id="{E2CE5918-FB12-004A-AAAE-05EF180238A7}"/>
              </a:ext>
            </a:extLst>
          </p:cNvPr>
          <p:cNvSpPr/>
          <p:nvPr/>
        </p:nvSpPr>
        <p:spPr>
          <a:xfrm>
            <a:off x="838200" y="1997839"/>
            <a:ext cx="10768105" cy="35394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12284C"/>
                </a:solidFill>
                <a:effectLst/>
                <a:uLnTx/>
                <a:uFillTx/>
                <a:latin typeface="Open Sans Light"/>
                <a:ea typeface="Times New Roman" panose="02020603050405020304" pitchFamily="18" charset="0"/>
                <a:cs typeface="+mn-cs"/>
              </a:rPr>
              <a:t>As of February 1, 2021, in Kansas, 3.8% of cases have been among children ages 0-9 years (n=10,457 total cases) and 7.8% of cases have been among children ages 10-17 years (n=21,511).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12284C"/>
              </a:solidFill>
              <a:effectLst/>
              <a:uLnTx/>
              <a:uFillTx/>
              <a:latin typeface="Open Sans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12284C"/>
                </a:solidFill>
                <a:effectLst/>
                <a:uLnTx/>
                <a:uFillTx/>
                <a:latin typeface="Open Sans Light"/>
                <a:ea typeface="+mn-ea"/>
                <a:cs typeface="+mn-cs"/>
              </a:rPr>
              <a:t>Recent evidence suggests that with masking requirements and student cohorting, transmission risk within schools appeared low, suggesting that schools might be able to safely open with appropriate mitigation efforts in place.</a:t>
            </a:r>
          </a:p>
        </p:txBody>
      </p:sp>
    </p:spTree>
    <p:extLst>
      <p:ext uri="{BB962C8B-B14F-4D97-AF65-F5344CB8AC3E}">
        <p14:creationId xmlns:p14="http://schemas.microsoft.com/office/powerpoint/2010/main" val="208464613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AB401A-631D-E947-9CB8-7F7A3DBDEBA3}"/>
              </a:ext>
            </a:extLst>
          </p:cNvPr>
          <p:cNvSpPr>
            <a:spLocks noGrp="1"/>
          </p:cNvSpPr>
          <p:nvPr>
            <p:ph type="title"/>
          </p:nvPr>
        </p:nvSpPr>
        <p:spPr>
          <a:xfrm>
            <a:off x="838200" y="568327"/>
            <a:ext cx="10515600" cy="1149351"/>
          </a:xfrm>
        </p:spPr>
        <p:txBody>
          <a:bodyPr>
            <a:normAutofit/>
          </a:bodyPr>
          <a:lstStyle/>
          <a:p>
            <a:r>
              <a:rPr lang="en-US" dirty="0">
                <a:latin typeface="+mn-lt"/>
              </a:rPr>
              <a:t>Changes to MS/HS Gating Criteria</a:t>
            </a:r>
          </a:p>
        </p:txBody>
      </p:sp>
      <p:sp>
        <p:nvSpPr>
          <p:cNvPr id="2" name="Rectangle 1">
            <a:extLst>
              <a:ext uri="{FF2B5EF4-FFF2-40B4-BE49-F238E27FC236}">
                <a16:creationId xmlns:a16="http://schemas.microsoft.com/office/drawing/2014/main" id="{26BF5804-4926-DB43-8211-0D06E53C8B03}"/>
              </a:ext>
            </a:extLst>
          </p:cNvPr>
          <p:cNvSpPr/>
          <p:nvPr/>
        </p:nvSpPr>
        <p:spPr>
          <a:xfrm>
            <a:off x="838200" y="1997839"/>
            <a:ext cx="9979212" cy="39703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12284C"/>
                </a:solidFill>
                <a:effectLst/>
                <a:uLnTx/>
                <a:uFillTx/>
                <a:latin typeface="Open Sans Light"/>
                <a:ea typeface="Times New Roman" panose="02020603050405020304" pitchFamily="18" charset="0"/>
                <a:cs typeface="+mn-cs"/>
              </a:rPr>
              <a:t>Given what is currently known about infection rates in school age children and secondary infections caused by school age children within the school environment, the Kansas Department of Health and Environment and the Kansas COVID Workgroup for KIDS </a:t>
            </a:r>
            <a:r>
              <a:rPr kumimoji="0" lang="en-US" sz="2800" b="1" i="0" u="sng" strike="noStrike" kern="1200" cap="none" spc="0" normalizeH="0" baseline="0" noProof="0" dirty="0">
                <a:ln>
                  <a:noFill/>
                </a:ln>
                <a:solidFill>
                  <a:srgbClr val="12284C"/>
                </a:solidFill>
                <a:effectLst/>
                <a:uLnTx/>
                <a:uFillTx/>
                <a:latin typeface="Open Sans Light"/>
                <a:ea typeface="Times New Roman" panose="02020603050405020304" pitchFamily="18" charset="0"/>
                <a:cs typeface="+mn-cs"/>
              </a:rPr>
              <a:t>recommend modifying the Navigating Change guidance to allow for MS/HS to remain in an In Person or Hybrid Learning Environment when county metrics recommend a Remote Only Learning Environment if school districts meet the following criteria:</a:t>
            </a:r>
            <a:endParaRPr kumimoji="0" lang="en-US" sz="2800" b="1" i="0" u="sng" strike="noStrike" kern="1200" cap="none" spc="0" normalizeH="0" baseline="0" noProof="0" dirty="0">
              <a:ln>
                <a:noFill/>
              </a:ln>
              <a:solidFill>
                <a:srgbClr val="12284C"/>
              </a:solidFill>
              <a:effectLst/>
              <a:uLnTx/>
              <a:uFillTx/>
              <a:latin typeface="Open Sans Light"/>
              <a:ea typeface="+mn-ea"/>
              <a:cs typeface="+mn-cs"/>
            </a:endParaRPr>
          </a:p>
        </p:txBody>
      </p:sp>
    </p:spTree>
    <p:extLst>
      <p:ext uri="{BB962C8B-B14F-4D97-AF65-F5344CB8AC3E}">
        <p14:creationId xmlns:p14="http://schemas.microsoft.com/office/powerpoint/2010/main" val="324080369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AB401A-631D-E947-9CB8-7F7A3DBDEBA3}"/>
              </a:ext>
            </a:extLst>
          </p:cNvPr>
          <p:cNvSpPr>
            <a:spLocks noGrp="1"/>
          </p:cNvSpPr>
          <p:nvPr>
            <p:ph type="title"/>
          </p:nvPr>
        </p:nvSpPr>
        <p:spPr>
          <a:xfrm>
            <a:off x="838200" y="568327"/>
            <a:ext cx="10515600" cy="1149351"/>
          </a:xfrm>
        </p:spPr>
        <p:txBody>
          <a:bodyPr>
            <a:normAutofit/>
          </a:bodyPr>
          <a:lstStyle/>
          <a:p>
            <a:r>
              <a:rPr lang="en-US" dirty="0">
                <a:latin typeface="+mn-lt"/>
              </a:rPr>
              <a:t>Changes to MS/HS Gating Criteria</a:t>
            </a:r>
          </a:p>
        </p:txBody>
      </p:sp>
      <p:sp>
        <p:nvSpPr>
          <p:cNvPr id="2" name="Rectangle 1">
            <a:extLst>
              <a:ext uri="{FF2B5EF4-FFF2-40B4-BE49-F238E27FC236}">
                <a16:creationId xmlns:a16="http://schemas.microsoft.com/office/drawing/2014/main" id="{9D7AD75D-1FC7-104C-9FBC-F90757C80677}"/>
              </a:ext>
            </a:extLst>
          </p:cNvPr>
          <p:cNvSpPr/>
          <p:nvPr/>
        </p:nvSpPr>
        <p:spPr>
          <a:xfrm>
            <a:off x="838200" y="1651553"/>
            <a:ext cx="9919447" cy="5104795"/>
          </a:xfrm>
          <a:prstGeom prst="rect">
            <a:avLst/>
          </a:prstGeom>
        </p:spPr>
        <p:txBody>
          <a:bodyPr wrap="square">
            <a:spAutoFit/>
          </a:bodyPr>
          <a:lstStyle/>
          <a:p>
            <a:pPr marL="342900" marR="0" lvl="0" indent="-342900" algn="l" defTabSz="914400" rtl="0" eaLnBrk="1" fontAlgn="base" latinLnBrk="0" hangingPunct="1">
              <a:lnSpc>
                <a:spcPct val="107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solidFill>
                  <a:srgbClr val="201F1E"/>
                </a:solidFill>
                <a:effectLst/>
                <a:uLnTx/>
                <a:uFillTx/>
                <a:latin typeface="Open Sans Light"/>
                <a:ea typeface="Times New Roman" panose="02020603050405020304" pitchFamily="18" charset="0"/>
                <a:cs typeface="Times New Roman" panose="02020603050405020304" pitchFamily="18" charset="0"/>
              </a:rPr>
              <a:t>Students, teachers, and staff within middle and high school buildings should wear a mask appropriately,</a:t>
            </a:r>
            <a:r>
              <a:rPr kumimoji="0" lang="en-US" sz="2000" b="0" i="0" u="none" strike="noStrike" kern="1200" cap="none" spc="0" normalizeH="0" baseline="0" noProof="0" dirty="0">
                <a:ln>
                  <a:noFill/>
                </a:ln>
                <a:solidFill>
                  <a:srgbClr val="12284C"/>
                </a:solidFill>
                <a:effectLst/>
                <a:uLnTx/>
                <a:uFillTx/>
                <a:latin typeface="Open Sans Light"/>
                <a:ea typeface="+mn-ea"/>
                <a:cs typeface="+mn-cs"/>
              </a:rPr>
              <a:t> in accordance to Navigating Change guidelines</a:t>
            </a:r>
            <a:r>
              <a:rPr kumimoji="0" lang="en-US" sz="2000" b="0" i="0" u="none" strike="noStrike" kern="1200" cap="none" spc="0" normalizeH="0" baseline="0" noProof="0" dirty="0">
                <a:ln>
                  <a:noFill/>
                </a:ln>
                <a:solidFill>
                  <a:srgbClr val="201F1E"/>
                </a:solidFill>
                <a:effectLst/>
                <a:uLnTx/>
                <a:uFillTx/>
                <a:latin typeface="Open Sans Light"/>
                <a:ea typeface="Times New Roman" panose="02020603050405020304" pitchFamily="18" charset="0"/>
                <a:cs typeface="Times New Roman" panose="02020603050405020304" pitchFamily="18" charset="0"/>
              </a:rPr>
              <a:t>.</a:t>
            </a:r>
            <a:endParaRPr kumimoji="0" lang="en-US" sz="2000" b="0" i="0" u="none" strike="noStrike" kern="1200" cap="none" spc="0" normalizeH="0" baseline="0" noProof="0" dirty="0">
              <a:ln>
                <a:noFill/>
              </a:ln>
              <a:solidFill>
                <a:srgbClr val="12284C"/>
              </a:solidFill>
              <a:effectLst/>
              <a:uLnTx/>
              <a:uFillTx/>
              <a:latin typeface="Open Sans Light"/>
              <a:ea typeface="Times New Roman" panose="02020603050405020304" pitchFamily="18" charset="0"/>
              <a:cs typeface="Times New Roman" panose="02020603050405020304" pitchFamily="18" charset="0"/>
            </a:endParaRPr>
          </a:p>
          <a:p>
            <a:pPr marL="1257300" marR="0" lvl="2" indent="-342900" algn="l" defTabSz="914400" rtl="0" eaLnBrk="1" fontAlgn="base" latinLnBrk="0" hangingPunct="1">
              <a:lnSpc>
                <a:spcPct val="107000"/>
              </a:lnSpc>
              <a:spcBef>
                <a:spcPts val="0"/>
              </a:spcBef>
              <a:spcAft>
                <a:spcPts val="0"/>
              </a:spcAft>
              <a:buClrTx/>
              <a:buSzTx/>
              <a:buFont typeface="+mj-lt"/>
              <a:buAutoNum type="alphaUcPeriod"/>
              <a:tabLst/>
              <a:defRPr/>
            </a:pPr>
            <a:r>
              <a:rPr kumimoji="0" lang="en-US" sz="2000" b="0" i="0" u="none" strike="noStrike" kern="1200" cap="none" spc="0" normalizeH="0" baseline="0" noProof="0" dirty="0">
                <a:ln>
                  <a:noFill/>
                </a:ln>
                <a:solidFill>
                  <a:srgbClr val="201F1E"/>
                </a:solidFill>
                <a:effectLst/>
                <a:uLnTx/>
                <a:uFillTx/>
                <a:latin typeface="Open Sans Light"/>
                <a:ea typeface="Times New Roman" panose="02020603050405020304" pitchFamily="18" charset="0"/>
                <a:cs typeface="+mn-cs"/>
              </a:rPr>
              <a:t>Students should be physically distanced at least 6 feet from each other for the majority of the day. Teachers and staff should also comply with physical distancing recommendations. If physical distance of 6 feet can’t be accomplished, schools may conduct a hybrid model grouping or </a:t>
            </a:r>
            <a:r>
              <a:rPr kumimoji="0" lang="en-US" sz="2000" b="0" i="0" u="none" strike="noStrike" kern="1200" cap="none" spc="0" normalizeH="0" baseline="0" noProof="0" dirty="0">
                <a:ln>
                  <a:noFill/>
                </a:ln>
                <a:solidFill>
                  <a:srgbClr val="12284C"/>
                </a:solidFill>
                <a:effectLst/>
                <a:uLnTx/>
                <a:uFillTx/>
                <a:latin typeface="Open Sans Light"/>
                <a:ea typeface="Calibri" panose="020F0502020204030204" pitchFamily="34" charset="0"/>
                <a:cs typeface="+mn-cs"/>
              </a:rPr>
              <a:t>cohort in groups of no more than 5 students with each cohort remaining 6 feet apart for the majority of the day.</a:t>
            </a:r>
          </a:p>
          <a:p>
            <a:pPr marL="1257300" marR="0" lvl="2" indent="-342900" algn="l" defTabSz="914400" rtl="0" eaLnBrk="1" fontAlgn="base" latinLnBrk="0" hangingPunct="1">
              <a:lnSpc>
                <a:spcPct val="107000"/>
              </a:lnSpc>
              <a:spcBef>
                <a:spcPts val="0"/>
              </a:spcBef>
              <a:spcAft>
                <a:spcPts val="0"/>
              </a:spcAft>
              <a:buClrTx/>
              <a:buSzTx/>
              <a:buFont typeface="+mj-lt"/>
              <a:buAutoNum type="alphaUcPeriod"/>
              <a:tabLst/>
              <a:defRPr/>
            </a:pPr>
            <a:endParaRPr kumimoji="0" lang="en-US" sz="2000" b="0" i="0" u="none" strike="noStrike" kern="1200" cap="none" spc="0" normalizeH="0" baseline="0" noProof="0" dirty="0">
              <a:ln>
                <a:noFill/>
              </a:ln>
              <a:solidFill>
                <a:srgbClr val="12284C"/>
              </a:solidFill>
              <a:effectLst/>
              <a:uLnTx/>
              <a:uFillTx/>
              <a:latin typeface="Open Sans Light"/>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solidFill>
                  <a:srgbClr val="12284C"/>
                </a:solidFill>
                <a:effectLst/>
                <a:uLnTx/>
                <a:uFillTx/>
                <a:latin typeface="Open Sans Light"/>
                <a:ea typeface="+mn-ea"/>
                <a:cs typeface="+mn-cs"/>
              </a:rPr>
              <a:t>Each building used for instruction follow ventilation guidance in accordance to Navigating Change guideline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000" b="0" i="0" u="none" strike="noStrike" kern="1200" cap="none" spc="0" normalizeH="0" baseline="0" noProof="0" dirty="0">
              <a:ln>
                <a:noFill/>
              </a:ln>
              <a:solidFill>
                <a:srgbClr val="12284C"/>
              </a:solidFill>
              <a:effectLst/>
              <a:uLnTx/>
              <a:uFillTx/>
              <a:latin typeface="Open Sans Ligh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000" b="0" i="0" u="none" strike="noStrike" kern="1200" cap="none" spc="0" normalizeH="0" baseline="0" noProof="0" dirty="0">
                <a:ln>
                  <a:noFill/>
                </a:ln>
                <a:solidFill>
                  <a:srgbClr val="12284C"/>
                </a:solidFill>
                <a:effectLst/>
                <a:uLnTx/>
                <a:uFillTx/>
                <a:latin typeface="Open Sans Light"/>
                <a:ea typeface="+mn-ea"/>
                <a:cs typeface="+mn-cs"/>
              </a:rPr>
              <a:t>Each building used for instruction should sanitize and clean surfaces and restrooms in accordance to Navigating Change guidelines.</a:t>
            </a:r>
          </a:p>
          <a:p>
            <a:pPr marL="1257300" marR="0" lvl="2" indent="-342900" algn="l" defTabSz="914400" rtl="0" eaLnBrk="1" fontAlgn="base" latinLnBrk="0" hangingPunct="1">
              <a:lnSpc>
                <a:spcPct val="107000"/>
              </a:lnSpc>
              <a:spcBef>
                <a:spcPts val="0"/>
              </a:spcBef>
              <a:spcAft>
                <a:spcPts val="0"/>
              </a:spcAft>
              <a:buClrTx/>
              <a:buSzTx/>
              <a:buFont typeface="+mj-lt"/>
              <a:buAutoNum type="alphaLcPeriod"/>
              <a:tabLst/>
              <a:defRPr/>
            </a:pPr>
            <a:endParaRPr kumimoji="0" lang="en-US" sz="1600" b="0" i="0" u="none" strike="noStrike" kern="1200" cap="none" spc="0" normalizeH="0" baseline="0" noProof="0" dirty="0">
              <a:ln>
                <a:noFill/>
              </a:ln>
              <a:solidFill>
                <a:srgbClr val="12284C"/>
              </a:solidFill>
              <a:effectLst/>
              <a:uLnTx/>
              <a:uFillTx/>
              <a:latin typeface="Open Sans Ligh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dirty="0">
                <a:ln>
                  <a:noFill/>
                </a:ln>
                <a:solidFill>
                  <a:srgbClr val="12284C"/>
                </a:solidFill>
                <a:effectLst/>
                <a:uLnTx/>
                <a:uFillTx/>
                <a:latin typeface="Open Sans Light"/>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24609857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dissolv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dissolv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dissolv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
                                            <p:txEl>
                                              <p:pRg st="5" end="5"/>
                                            </p:txEl>
                                          </p:spTgt>
                                        </p:tgtEl>
                                        <p:attrNameLst>
                                          <p:attrName>style.visibility</p:attrName>
                                        </p:attrNameLst>
                                      </p:cBhvr>
                                      <p:to>
                                        <p:strVal val="visible"/>
                                      </p:to>
                                    </p:set>
                                    <p:animEffect transition="in" filter="dissolve">
                                      <p:cBhvr>
                                        <p:cTn id="22"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AB401A-631D-E947-9CB8-7F7A3DBDEBA3}"/>
              </a:ext>
            </a:extLst>
          </p:cNvPr>
          <p:cNvSpPr>
            <a:spLocks noGrp="1"/>
          </p:cNvSpPr>
          <p:nvPr>
            <p:ph type="title"/>
          </p:nvPr>
        </p:nvSpPr>
        <p:spPr>
          <a:xfrm>
            <a:off x="838200" y="568327"/>
            <a:ext cx="10515600" cy="1149351"/>
          </a:xfrm>
        </p:spPr>
        <p:txBody>
          <a:bodyPr>
            <a:normAutofit/>
          </a:bodyPr>
          <a:lstStyle/>
          <a:p>
            <a:r>
              <a:rPr lang="en-US" dirty="0">
                <a:latin typeface="+mn-lt"/>
              </a:rPr>
              <a:t>Changes to MS/HS Gating Criteria</a:t>
            </a:r>
          </a:p>
        </p:txBody>
      </p:sp>
      <p:sp>
        <p:nvSpPr>
          <p:cNvPr id="2" name="Rectangle 1">
            <a:extLst>
              <a:ext uri="{FF2B5EF4-FFF2-40B4-BE49-F238E27FC236}">
                <a16:creationId xmlns:a16="http://schemas.microsoft.com/office/drawing/2014/main" id="{8C65E6C6-4181-FD48-94A8-A9DA3A21FEF7}"/>
              </a:ext>
            </a:extLst>
          </p:cNvPr>
          <p:cNvSpPr/>
          <p:nvPr/>
        </p:nvSpPr>
        <p:spPr>
          <a:xfrm>
            <a:off x="927847" y="1957204"/>
            <a:ext cx="9877612" cy="4019947"/>
          </a:xfrm>
          <a:prstGeom prst="rect">
            <a:avLst/>
          </a:prstGeom>
        </p:spPr>
        <p:txBody>
          <a:bodyPr wrap="square">
            <a:spAutoFit/>
          </a:bodyPr>
          <a:lstStyle/>
          <a:p>
            <a:pPr marL="342900" marR="0" lvl="0" indent="-342900" algn="l" defTabSz="914400" rtl="0" eaLnBrk="1" fontAlgn="auto" latinLnBrk="0" hangingPunct="1">
              <a:lnSpc>
                <a:spcPct val="107000"/>
              </a:lnSpc>
              <a:spcBef>
                <a:spcPts val="0"/>
              </a:spcBef>
              <a:spcAft>
                <a:spcPts val="0"/>
              </a:spcAft>
              <a:buClrTx/>
              <a:buSzTx/>
              <a:buFont typeface="+mj-lt"/>
              <a:buAutoNum type="arabicPeriod" startAt="4"/>
              <a:tabLst/>
              <a:defRPr/>
            </a:pPr>
            <a:r>
              <a:rPr kumimoji="0" lang="en-US" sz="2000" b="0" i="0" u="none" strike="noStrike" kern="1200" cap="none" spc="0" normalizeH="0" baseline="0" noProof="0" dirty="0">
                <a:ln>
                  <a:noFill/>
                </a:ln>
                <a:solidFill>
                  <a:srgbClr val="201F1E"/>
                </a:solidFill>
                <a:effectLst/>
                <a:uLnTx/>
                <a:uFillTx/>
                <a:latin typeface="Open Sans Light"/>
                <a:ea typeface="Times New Roman" panose="02020603050405020304" pitchFamily="18" charset="0"/>
                <a:cs typeface="Times New Roman" panose="02020603050405020304" pitchFamily="18" charset="0"/>
              </a:rPr>
              <a:t>Students, teachers, and staff should continue regular hand hygiene as per Navigating Change.</a:t>
            </a:r>
            <a:endParaRPr kumimoji="0" lang="en-US" sz="2000" b="0" i="0" u="none" strike="noStrike" kern="1200" cap="none" spc="0" normalizeH="0" baseline="0" noProof="0" dirty="0">
              <a:ln>
                <a:noFill/>
              </a:ln>
              <a:solidFill>
                <a:srgbClr val="12284C"/>
              </a:solidFill>
              <a:effectLst/>
              <a:uLnTx/>
              <a:uFillTx/>
              <a:latin typeface="Open Sans Light"/>
              <a:ea typeface="Times New Roman" panose="02020603050405020304" pitchFamily="18"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mj-lt"/>
              <a:buAutoNum type="arabicPeriod" startAt="4"/>
              <a:tabLst/>
              <a:defRPr/>
            </a:pPr>
            <a:endParaRPr kumimoji="0" lang="en-US" sz="2000" b="0" i="0" u="none" strike="noStrike" kern="1200" cap="none" spc="0" normalizeH="0" baseline="0" noProof="0" dirty="0">
              <a:ln>
                <a:noFill/>
              </a:ln>
              <a:solidFill>
                <a:srgbClr val="201F1E"/>
              </a:solidFill>
              <a:effectLst/>
              <a:uLnTx/>
              <a:uFillTx/>
              <a:latin typeface="Open Sans Light"/>
              <a:ea typeface="Times New Roman" panose="02020603050405020304" pitchFamily="18"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mj-lt"/>
              <a:buAutoNum type="arabicPeriod" startAt="4"/>
              <a:tabLst/>
              <a:defRPr/>
            </a:pPr>
            <a:r>
              <a:rPr kumimoji="0" lang="en-US" sz="2000" b="0" i="0" u="none" strike="noStrike" kern="1200" cap="none" spc="0" normalizeH="0" baseline="0" noProof="0" dirty="0">
                <a:ln>
                  <a:noFill/>
                </a:ln>
                <a:solidFill>
                  <a:srgbClr val="201F1E"/>
                </a:solidFill>
                <a:effectLst/>
                <a:uLnTx/>
                <a:uFillTx/>
                <a:latin typeface="Open Sans Light"/>
                <a:ea typeface="Times New Roman" panose="02020603050405020304" pitchFamily="18" charset="0"/>
                <a:cs typeface="Times New Roman" panose="02020603050405020304" pitchFamily="18" charset="0"/>
              </a:rPr>
              <a:t>Each school district should onboard point of care testing capacity to address screening and diagnostic testing</a:t>
            </a:r>
            <a:endParaRPr kumimoji="0" lang="en-US" sz="2000" b="0" i="0" u="none" strike="noStrike" kern="1200" cap="none" spc="0" normalizeH="0" baseline="0" noProof="0" dirty="0">
              <a:ln>
                <a:noFill/>
              </a:ln>
              <a:solidFill>
                <a:srgbClr val="12284C"/>
              </a:solidFill>
              <a:effectLst/>
              <a:uLnTx/>
              <a:uFillTx/>
              <a:latin typeface="Open Sans Light"/>
              <a:ea typeface="Times New Roman" panose="02020603050405020304" pitchFamily="18"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mj-lt"/>
              <a:buAutoNum type="arabicPeriod" startAt="4"/>
              <a:tabLst/>
              <a:defRPr/>
            </a:pPr>
            <a:endParaRPr kumimoji="0" lang="en-US" sz="2000" b="0" i="0" u="none" strike="noStrike" kern="1200" cap="none" spc="0" normalizeH="0" baseline="0" noProof="0" dirty="0">
              <a:ln>
                <a:noFill/>
              </a:ln>
              <a:solidFill>
                <a:srgbClr val="201F1E"/>
              </a:solidFill>
              <a:effectLst/>
              <a:uLnTx/>
              <a:uFillTx/>
              <a:latin typeface="Open Sans Light"/>
              <a:ea typeface="Times New Roman" panose="02020603050405020304" pitchFamily="18"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mj-lt"/>
              <a:buAutoNum type="arabicPeriod" startAt="4"/>
              <a:tabLst/>
              <a:defRPr/>
            </a:pPr>
            <a:r>
              <a:rPr kumimoji="0" lang="en-US" sz="2000" b="0" i="0" u="none" strike="noStrike" kern="1200" cap="none" spc="0" normalizeH="0" baseline="0" noProof="0" dirty="0">
                <a:ln>
                  <a:noFill/>
                </a:ln>
                <a:solidFill>
                  <a:srgbClr val="201F1E"/>
                </a:solidFill>
                <a:effectLst/>
                <a:uLnTx/>
                <a:uFillTx/>
                <a:latin typeface="Open Sans Light"/>
                <a:ea typeface="Times New Roman" panose="02020603050405020304" pitchFamily="18" charset="0"/>
                <a:cs typeface="+mn-cs"/>
              </a:rPr>
              <a:t>Buildings require appropriate staffing for classrooms, administrative offices, custodial staff, transportation, food service, and other programs that are vital to the district’s success. This also includes the ability to fill vacancies with licensed substitute staff when needed. If districts cannot maintain adequate staffing for a building, then that building should be closed until it is able to operate safely and effectively</a:t>
            </a:r>
            <a:r>
              <a:rPr kumimoji="0" lang="en-US" sz="2000" b="0" i="0" u="none" strike="noStrike" kern="1200" cap="none" spc="0" normalizeH="0" baseline="0" noProof="0" dirty="0">
                <a:ln>
                  <a:noFill/>
                </a:ln>
                <a:solidFill>
                  <a:srgbClr val="12284C"/>
                </a:solidFill>
                <a:effectLst/>
                <a:uLnTx/>
                <a:uFillTx/>
                <a:latin typeface="Open Sans Light"/>
                <a:ea typeface="+mn-ea"/>
                <a:cs typeface="+mn-cs"/>
              </a:rPr>
              <a:t>.</a:t>
            </a:r>
          </a:p>
        </p:txBody>
      </p:sp>
    </p:spTree>
    <p:extLst>
      <p:ext uri="{BB962C8B-B14F-4D97-AF65-F5344CB8AC3E}">
        <p14:creationId xmlns:p14="http://schemas.microsoft.com/office/powerpoint/2010/main" val="384655063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dissolv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dissolv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animEffect transition="in" filter="dissolve">
                                      <p:cBhvr>
                                        <p:cTn id="17"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AB401A-631D-E947-9CB8-7F7A3DBDEBA3}"/>
              </a:ext>
            </a:extLst>
          </p:cNvPr>
          <p:cNvSpPr>
            <a:spLocks noGrp="1"/>
          </p:cNvSpPr>
          <p:nvPr>
            <p:ph type="title"/>
          </p:nvPr>
        </p:nvSpPr>
        <p:spPr>
          <a:xfrm>
            <a:off x="762000" y="739432"/>
            <a:ext cx="10515600" cy="1149351"/>
          </a:xfrm>
        </p:spPr>
        <p:txBody>
          <a:bodyPr>
            <a:normAutofit fontScale="90000"/>
          </a:bodyPr>
          <a:lstStyle/>
          <a:p>
            <a:r>
              <a:rPr lang="en-US" sz="3100" b="1" dirty="0">
                <a:latin typeface="+mn-lt"/>
              </a:rPr>
              <a:t>MS/HS Testing Strategy: </a:t>
            </a:r>
            <a:r>
              <a:rPr lang="en-US" sz="3100" dirty="0">
                <a:latin typeface="+mn-lt"/>
              </a:rPr>
              <a:t>Testing protocols to </a:t>
            </a:r>
            <a:br>
              <a:rPr lang="en-US" sz="3100" dirty="0">
                <a:latin typeface="+mn-lt"/>
              </a:rPr>
            </a:br>
            <a:r>
              <a:rPr lang="en-US" sz="3100" dirty="0">
                <a:latin typeface="+mn-lt"/>
              </a:rPr>
              <a:t>alleviate COVID-19 concerns from students, staff &amp; community</a:t>
            </a:r>
            <a:br>
              <a:rPr lang="en-US" altLang="en-US" b="1" dirty="0">
                <a:solidFill>
                  <a:prstClr val="white"/>
                </a:solidFill>
                <a:effectLst>
                  <a:outerShdw blurRad="38100" dist="38100" dir="2700000" algn="tl">
                    <a:srgbClr val="000000">
                      <a:alpha val="43137"/>
                    </a:srgbClr>
                  </a:outerShdw>
                </a:effectLst>
                <a:latin typeface="Open Sans"/>
              </a:rPr>
            </a:br>
            <a:endParaRPr lang="en-US" dirty="0">
              <a:latin typeface="+mn-lt"/>
            </a:endParaRPr>
          </a:p>
        </p:txBody>
      </p:sp>
      <p:grpSp>
        <p:nvGrpSpPr>
          <p:cNvPr id="7" name="Group 6">
            <a:extLst>
              <a:ext uri="{FF2B5EF4-FFF2-40B4-BE49-F238E27FC236}">
                <a16:creationId xmlns:a16="http://schemas.microsoft.com/office/drawing/2014/main" id="{FCF133A7-A6EA-2B49-ADC3-DA2BF1F65355}"/>
              </a:ext>
            </a:extLst>
          </p:cNvPr>
          <p:cNvGrpSpPr>
            <a:grpSpLocks noChangeAspect="1"/>
          </p:cNvGrpSpPr>
          <p:nvPr/>
        </p:nvGrpSpPr>
        <p:grpSpPr>
          <a:xfrm>
            <a:off x="4931934" y="1524046"/>
            <a:ext cx="335171" cy="335171"/>
            <a:chOff x="2507457" y="3543550"/>
            <a:chExt cx="1647825" cy="1647825"/>
          </a:xfrm>
        </p:grpSpPr>
        <p:sp>
          <p:nvSpPr>
            <p:cNvPr id="8" name="AutoShape 122">
              <a:extLst>
                <a:ext uri="{FF2B5EF4-FFF2-40B4-BE49-F238E27FC236}">
                  <a16:creationId xmlns:a16="http://schemas.microsoft.com/office/drawing/2014/main" id="{9E4A446C-A963-4C4B-AD2C-321EBA213D9E}"/>
                </a:ext>
              </a:extLst>
            </p:cNvPr>
            <p:cNvSpPr>
              <a:spLocks noChangeAspect="1" noChangeArrowheads="1" noTextEdit="1"/>
            </p:cNvSpPr>
            <p:nvPr/>
          </p:nvSpPr>
          <p:spPr bwMode="auto">
            <a:xfrm>
              <a:off x="2507457" y="3543550"/>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Calibri"/>
                <a:ea typeface="+mn-ea"/>
                <a:cs typeface="+mn-cs"/>
              </a:endParaRPr>
            </a:p>
          </p:txBody>
        </p:sp>
        <p:sp>
          <p:nvSpPr>
            <p:cNvPr id="9" name="Freeform 125">
              <a:extLst>
                <a:ext uri="{FF2B5EF4-FFF2-40B4-BE49-F238E27FC236}">
                  <a16:creationId xmlns:a16="http://schemas.microsoft.com/office/drawing/2014/main" id="{47E26CAA-AD81-D140-8BF2-DEF8384FC54A}"/>
                </a:ext>
              </a:extLst>
            </p:cNvPr>
            <p:cNvSpPr>
              <a:spLocks noEditPoints="1"/>
            </p:cNvSpPr>
            <p:nvPr/>
          </p:nvSpPr>
          <p:spPr bwMode="auto">
            <a:xfrm>
              <a:off x="3047547" y="3717151"/>
              <a:ext cx="567645" cy="1300624"/>
            </a:xfrm>
            <a:custGeom>
              <a:avLst/>
              <a:gdLst>
                <a:gd name="T0" fmla="*/ 581 w 668"/>
                <a:gd name="T1" fmla="*/ 0 h 1534"/>
                <a:gd name="T2" fmla="*/ 87 w 668"/>
                <a:gd name="T3" fmla="*/ 0 h 1534"/>
                <a:gd name="T4" fmla="*/ 0 w 668"/>
                <a:gd name="T5" fmla="*/ 87 h 1534"/>
                <a:gd name="T6" fmla="*/ 87 w 668"/>
                <a:gd name="T7" fmla="*/ 174 h 1534"/>
                <a:gd name="T8" fmla="*/ 89 w 668"/>
                <a:gd name="T9" fmla="*/ 174 h 1534"/>
                <a:gd name="T10" fmla="*/ 89 w 668"/>
                <a:gd name="T11" fmla="*/ 1289 h 1534"/>
                <a:gd name="T12" fmla="*/ 334 w 668"/>
                <a:gd name="T13" fmla="*/ 1534 h 1534"/>
                <a:gd name="T14" fmla="*/ 579 w 668"/>
                <a:gd name="T15" fmla="*/ 1289 h 1534"/>
                <a:gd name="T16" fmla="*/ 579 w 668"/>
                <a:gd name="T17" fmla="*/ 174 h 1534"/>
                <a:gd name="T18" fmla="*/ 581 w 668"/>
                <a:gd name="T19" fmla="*/ 174 h 1534"/>
                <a:gd name="T20" fmla="*/ 668 w 668"/>
                <a:gd name="T21" fmla="*/ 87 h 1534"/>
                <a:gd name="T22" fmla="*/ 581 w 668"/>
                <a:gd name="T23" fmla="*/ 0 h 1534"/>
                <a:gd name="T24" fmla="*/ 581 w 668"/>
                <a:gd name="T25" fmla="*/ 138 h 1534"/>
                <a:gd name="T26" fmla="*/ 543 w 668"/>
                <a:gd name="T27" fmla="*/ 138 h 1534"/>
                <a:gd name="T28" fmla="*/ 543 w 668"/>
                <a:gd name="T29" fmla="*/ 1289 h 1534"/>
                <a:gd name="T30" fmla="*/ 334 w 668"/>
                <a:gd name="T31" fmla="*/ 1497 h 1534"/>
                <a:gd name="T32" fmla="*/ 334 w 668"/>
                <a:gd name="T33" fmla="*/ 1497 h 1534"/>
                <a:gd name="T34" fmla="*/ 125 w 668"/>
                <a:gd name="T35" fmla="*/ 1289 h 1534"/>
                <a:gd name="T36" fmla="*/ 125 w 668"/>
                <a:gd name="T37" fmla="*/ 138 h 1534"/>
                <a:gd name="T38" fmla="*/ 87 w 668"/>
                <a:gd name="T39" fmla="*/ 138 h 1534"/>
                <a:gd name="T40" fmla="*/ 37 w 668"/>
                <a:gd name="T41" fmla="*/ 87 h 1534"/>
                <a:gd name="T42" fmla="*/ 87 w 668"/>
                <a:gd name="T43" fmla="*/ 37 h 1534"/>
                <a:gd name="T44" fmla="*/ 581 w 668"/>
                <a:gd name="T45" fmla="*/ 37 h 1534"/>
                <a:gd name="T46" fmla="*/ 631 w 668"/>
                <a:gd name="T47" fmla="*/ 87 h 1534"/>
                <a:gd name="T48" fmla="*/ 581 w 668"/>
                <a:gd name="T49" fmla="*/ 138 h 1534"/>
                <a:gd name="T50" fmla="*/ 165 w 668"/>
                <a:gd name="T51" fmla="*/ 766 h 1534"/>
                <a:gd name="T52" fmla="*/ 165 w 668"/>
                <a:gd name="T53" fmla="*/ 1289 h 1534"/>
                <a:gd name="T54" fmla="*/ 334 w 668"/>
                <a:gd name="T55" fmla="*/ 1462 h 1534"/>
                <a:gd name="T56" fmla="*/ 503 w 668"/>
                <a:gd name="T57" fmla="*/ 1289 h 1534"/>
                <a:gd name="T58" fmla="*/ 503 w 668"/>
                <a:gd name="T59" fmla="*/ 766 h 1534"/>
                <a:gd name="T60" fmla="*/ 165 w 668"/>
                <a:gd name="T61" fmla="*/ 766 h 1534"/>
                <a:gd name="T62" fmla="*/ 165 w 668"/>
                <a:gd name="T63" fmla="*/ 766 h 1534"/>
                <a:gd name="T64" fmla="*/ 409 w 668"/>
                <a:gd name="T65" fmla="*/ 898 h 1534"/>
                <a:gd name="T66" fmla="*/ 435 w 668"/>
                <a:gd name="T67" fmla="*/ 925 h 1534"/>
                <a:gd name="T68" fmla="*/ 409 w 668"/>
                <a:gd name="T69" fmla="*/ 951 h 1534"/>
                <a:gd name="T70" fmla="*/ 383 w 668"/>
                <a:gd name="T71" fmla="*/ 925 h 1534"/>
                <a:gd name="T72" fmla="*/ 409 w 668"/>
                <a:gd name="T73" fmla="*/ 898 h 1534"/>
                <a:gd name="T74" fmla="*/ 277 w 668"/>
                <a:gd name="T75" fmla="*/ 1362 h 1534"/>
                <a:gd name="T76" fmla="*/ 219 w 668"/>
                <a:gd name="T77" fmla="*/ 1302 h 1534"/>
                <a:gd name="T78" fmla="*/ 277 w 668"/>
                <a:gd name="T79" fmla="*/ 1243 h 1534"/>
                <a:gd name="T80" fmla="*/ 336 w 668"/>
                <a:gd name="T81" fmla="*/ 1302 h 1534"/>
                <a:gd name="T82" fmla="*/ 277 w 668"/>
                <a:gd name="T83" fmla="*/ 1362 h 1534"/>
                <a:gd name="T84" fmla="*/ 316 w 668"/>
                <a:gd name="T85" fmla="*/ 1008 h 1534"/>
                <a:gd name="T86" fmla="*/ 350 w 668"/>
                <a:gd name="T87" fmla="*/ 974 h 1534"/>
                <a:gd name="T88" fmla="*/ 383 w 668"/>
                <a:gd name="T89" fmla="*/ 1008 h 1534"/>
                <a:gd name="T90" fmla="*/ 350 w 668"/>
                <a:gd name="T91" fmla="*/ 1041 h 1534"/>
                <a:gd name="T92" fmla="*/ 316 w 668"/>
                <a:gd name="T93" fmla="*/ 1008 h 1534"/>
                <a:gd name="T94" fmla="*/ 419 w 668"/>
                <a:gd name="T95" fmla="*/ 1356 h 1534"/>
                <a:gd name="T96" fmla="*/ 391 w 668"/>
                <a:gd name="T97" fmla="*/ 1327 h 1534"/>
                <a:gd name="T98" fmla="*/ 419 w 668"/>
                <a:gd name="T99" fmla="*/ 1299 h 1534"/>
                <a:gd name="T100" fmla="*/ 447 w 668"/>
                <a:gd name="T101" fmla="*/ 1327 h 1534"/>
                <a:gd name="T102" fmla="*/ 419 w 668"/>
                <a:gd name="T103" fmla="*/ 1356 h 1534"/>
                <a:gd name="T104" fmla="*/ 405 w 668"/>
                <a:gd name="T105" fmla="*/ 1209 h 1534"/>
                <a:gd name="T106" fmla="*/ 359 w 668"/>
                <a:gd name="T107" fmla="*/ 1163 h 1534"/>
                <a:gd name="T108" fmla="*/ 405 w 668"/>
                <a:gd name="T109" fmla="*/ 1115 h 1534"/>
                <a:gd name="T110" fmla="*/ 451 w 668"/>
                <a:gd name="T111" fmla="*/ 1163 h 1534"/>
                <a:gd name="T112" fmla="*/ 405 w 668"/>
                <a:gd name="T113" fmla="*/ 1209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8" h="1534">
                  <a:moveTo>
                    <a:pt x="581" y="0"/>
                  </a:moveTo>
                  <a:cubicBezTo>
                    <a:pt x="87" y="0"/>
                    <a:pt x="87" y="0"/>
                    <a:pt x="87" y="0"/>
                  </a:cubicBezTo>
                  <a:cubicBezTo>
                    <a:pt x="39" y="0"/>
                    <a:pt x="0" y="40"/>
                    <a:pt x="0" y="87"/>
                  </a:cubicBezTo>
                  <a:cubicBezTo>
                    <a:pt x="0" y="136"/>
                    <a:pt x="39" y="174"/>
                    <a:pt x="87" y="174"/>
                  </a:cubicBezTo>
                  <a:cubicBezTo>
                    <a:pt x="89" y="174"/>
                    <a:pt x="89" y="174"/>
                    <a:pt x="89" y="174"/>
                  </a:cubicBezTo>
                  <a:cubicBezTo>
                    <a:pt x="89" y="1289"/>
                    <a:pt x="89" y="1289"/>
                    <a:pt x="89" y="1289"/>
                  </a:cubicBezTo>
                  <a:cubicBezTo>
                    <a:pt x="89" y="1423"/>
                    <a:pt x="199" y="1534"/>
                    <a:pt x="334" y="1534"/>
                  </a:cubicBezTo>
                  <a:cubicBezTo>
                    <a:pt x="469" y="1534"/>
                    <a:pt x="579" y="1423"/>
                    <a:pt x="579" y="1289"/>
                  </a:cubicBezTo>
                  <a:cubicBezTo>
                    <a:pt x="579" y="174"/>
                    <a:pt x="579" y="174"/>
                    <a:pt x="579" y="174"/>
                  </a:cubicBezTo>
                  <a:cubicBezTo>
                    <a:pt x="581" y="174"/>
                    <a:pt x="581" y="174"/>
                    <a:pt x="581" y="174"/>
                  </a:cubicBezTo>
                  <a:cubicBezTo>
                    <a:pt x="629" y="174"/>
                    <a:pt x="668" y="136"/>
                    <a:pt x="668" y="87"/>
                  </a:cubicBezTo>
                  <a:cubicBezTo>
                    <a:pt x="668" y="40"/>
                    <a:pt x="629" y="0"/>
                    <a:pt x="581" y="0"/>
                  </a:cubicBezTo>
                  <a:close/>
                  <a:moveTo>
                    <a:pt x="581" y="138"/>
                  </a:moveTo>
                  <a:cubicBezTo>
                    <a:pt x="543" y="138"/>
                    <a:pt x="543" y="138"/>
                    <a:pt x="543" y="138"/>
                  </a:cubicBezTo>
                  <a:cubicBezTo>
                    <a:pt x="543" y="1289"/>
                    <a:pt x="543" y="1289"/>
                    <a:pt x="543" y="1289"/>
                  </a:cubicBezTo>
                  <a:cubicBezTo>
                    <a:pt x="543" y="1403"/>
                    <a:pt x="450" y="1497"/>
                    <a:pt x="334" y="1497"/>
                  </a:cubicBezTo>
                  <a:cubicBezTo>
                    <a:pt x="334" y="1497"/>
                    <a:pt x="334" y="1497"/>
                    <a:pt x="334" y="1497"/>
                  </a:cubicBezTo>
                  <a:cubicBezTo>
                    <a:pt x="218" y="1497"/>
                    <a:pt x="125" y="1403"/>
                    <a:pt x="125" y="1289"/>
                  </a:cubicBezTo>
                  <a:cubicBezTo>
                    <a:pt x="125" y="138"/>
                    <a:pt x="125" y="138"/>
                    <a:pt x="125" y="138"/>
                  </a:cubicBezTo>
                  <a:cubicBezTo>
                    <a:pt x="87" y="138"/>
                    <a:pt x="87" y="138"/>
                    <a:pt x="87" y="138"/>
                  </a:cubicBezTo>
                  <a:cubicBezTo>
                    <a:pt x="59" y="138"/>
                    <a:pt x="37" y="115"/>
                    <a:pt x="37" y="87"/>
                  </a:cubicBezTo>
                  <a:cubicBezTo>
                    <a:pt x="37" y="59"/>
                    <a:pt x="59" y="37"/>
                    <a:pt x="87" y="37"/>
                  </a:cubicBezTo>
                  <a:cubicBezTo>
                    <a:pt x="581" y="37"/>
                    <a:pt x="581" y="37"/>
                    <a:pt x="581" y="37"/>
                  </a:cubicBezTo>
                  <a:cubicBezTo>
                    <a:pt x="609" y="37"/>
                    <a:pt x="631" y="59"/>
                    <a:pt x="631" y="87"/>
                  </a:cubicBezTo>
                  <a:cubicBezTo>
                    <a:pt x="631" y="115"/>
                    <a:pt x="609" y="138"/>
                    <a:pt x="581" y="138"/>
                  </a:cubicBezTo>
                  <a:close/>
                  <a:moveTo>
                    <a:pt x="165" y="766"/>
                  </a:moveTo>
                  <a:cubicBezTo>
                    <a:pt x="165" y="1289"/>
                    <a:pt x="165" y="1289"/>
                    <a:pt x="165" y="1289"/>
                  </a:cubicBezTo>
                  <a:cubicBezTo>
                    <a:pt x="165" y="1385"/>
                    <a:pt x="240" y="1462"/>
                    <a:pt x="334" y="1462"/>
                  </a:cubicBezTo>
                  <a:cubicBezTo>
                    <a:pt x="428" y="1462"/>
                    <a:pt x="503" y="1385"/>
                    <a:pt x="503" y="1289"/>
                  </a:cubicBezTo>
                  <a:cubicBezTo>
                    <a:pt x="503" y="766"/>
                    <a:pt x="503" y="766"/>
                    <a:pt x="503" y="766"/>
                  </a:cubicBezTo>
                  <a:cubicBezTo>
                    <a:pt x="165" y="766"/>
                    <a:pt x="165" y="766"/>
                    <a:pt x="165" y="766"/>
                  </a:cubicBezTo>
                  <a:cubicBezTo>
                    <a:pt x="165" y="766"/>
                    <a:pt x="165" y="766"/>
                    <a:pt x="165" y="766"/>
                  </a:cubicBezTo>
                  <a:close/>
                  <a:moveTo>
                    <a:pt x="409" y="898"/>
                  </a:moveTo>
                  <a:cubicBezTo>
                    <a:pt x="424" y="898"/>
                    <a:pt x="435" y="910"/>
                    <a:pt x="435" y="925"/>
                  </a:cubicBezTo>
                  <a:cubicBezTo>
                    <a:pt x="435" y="939"/>
                    <a:pt x="424" y="951"/>
                    <a:pt x="409" y="951"/>
                  </a:cubicBezTo>
                  <a:cubicBezTo>
                    <a:pt x="394" y="951"/>
                    <a:pt x="383" y="939"/>
                    <a:pt x="383" y="925"/>
                  </a:cubicBezTo>
                  <a:cubicBezTo>
                    <a:pt x="383" y="910"/>
                    <a:pt x="394" y="898"/>
                    <a:pt x="409" y="898"/>
                  </a:cubicBezTo>
                  <a:close/>
                  <a:moveTo>
                    <a:pt x="277" y="1362"/>
                  </a:moveTo>
                  <a:cubicBezTo>
                    <a:pt x="244" y="1362"/>
                    <a:pt x="219" y="1335"/>
                    <a:pt x="219" y="1302"/>
                  </a:cubicBezTo>
                  <a:cubicBezTo>
                    <a:pt x="219" y="1270"/>
                    <a:pt x="244" y="1243"/>
                    <a:pt x="277" y="1243"/>
                  </a:cubicBezTo>
                  <a:cubicBezTo>
                    <a:pt x="309" y="1243"/>
                    <a:pt x="336" y="1270"/>
                    <a:pt x="336" y="1302"/>
                  </a:cubicBezTo>
                  <a:cubicBezTo>
                    <a:pt x="336" y="1335"/>
                    <a:pt x="309" y="1362"/>
                    <a:pt x="277" y="1362"/>
                  </a:cubicBezTo>
                  <a:close/>
                  <a:moveTo>
                    <a:pt x="316" y="1008"/>
                  </a:moveTo>
                  <a:cubicBezTo>
                    <a:pt x="316" y="989"/>
                    <a:pt x="331" y="974"/>
                    <a:pt x="350" y="974"/>
                  </a:cubicBezTo>
                  <a:cubicBezTo>
                    <a:pt x="367" y="974"/>
                    <a:pt x="383" y="989"/>
                    <a:pt x="383" y="1008"/>
                  </a:cubicBezTo>
                  <a:cubicBezTo>
                    <a:pt x="383" y="1026"/>
                    <a:pt x="367" y="1041"/>
                    <a:pt x="350" y="1041"/>
                  </a:cubicBezTo>
                  <a:cubicBezTo>
                    <a:pt x="331" y="1041"/>
                    <a:pt x="316" y="1026"/>
                    <a:pt x="316" y="1008"/>
                  </a:cubicBezTo>
                  <a:close/>
                  <a:moveTo>
                    <a:pt x="419" y="1356"/>
                  </a:moveTo>
                  <a:cubicBezTo>
                    <a:pt x="403" y="1356"/>
                    <a:pt x="391" y="1343"/>
                    <a:pt x="391" y="1327"/>
                  </a:cubicBezTo>
                  <a:cubicBezTo>
                    <a:pt x="391" y="1311"/>
                    <a:pt x="403" y="1299"/>
                    <a:pt x="419" y="1299"/>
                  </a:cubicBezTo>
                  <a:cubicBezTo>
                    <a:pt x="434" y="1299"/>
                    <a:pt x="447" y="1311"/>
                    <a:pt x="447" y="1327"/>
                  </a:cubicBezTo>
                  <a:cubicBezTo>
                    <a:pt x="447" y="1343"/>
                    <a:pt x="434" y="1356"/>
                    <a:pt x="419" y="1356"/>
                  </a:cubicBezTo>
                  <a:close/>
                  <a:moveTo>
                    <a:pt x="405" y="1209"/>
                  </a:moveTo>
                  <a:cubicBezTo>
                    <a:pt x="379" y="1209"/>
                    <a:pt x="359" y="1188"/>
                    <a:pt x="359" y="1163"/>
                  </a:cubicBezTo>
                  <a:cubicBezTo>
                    <a:pt x="359" y="1136"/>
                    <a:pt x="379" y="1115"/>
                    <a:pt x="405" y="1115"/>
                  </a:cubicBezTo>
                  <a:cubicBezTo>
                    <a:pt x="430" y="1115"/>
                    <a:pt x="451" y="1136"/>
                    <a:pt x="451" y="1163"/>
                  </a:cubicBezTo>
                  <a:cubicBezTo>
                    <a:pt x="451" y="1188"/>
                    <a:pt x="430" y="1209"/>
                    <a:pt x="405" y="120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Calibri"/>
                <a:ea typeface="+mn-ea"/>
                <a:cs typeface="+mn-cs"/>
              </a:endParaRPr>
            </a:p>
          </p:txBody>
        </p:sp>
      </p:grpSp>
      <p:grpSp>
        <p:nvGrpSpPr>
          <p:cNvPr id="10" name="Group 9">
            <a:extLst>
              <a:ext uri="{FF2B5EF4-FFF2-40B4-BE49-F238E27FC236}">
                <a16:creationId xmlns:a16="http://schemas.microsoft.com/office/drawing/2014/main" id="{43D543D4-D999-1A4C-A4BD-E55002AE29B5}"/>
              </a:ext>
            </a:extLst>
          </p:cNvPr>
          <p:cNvGrpSpPr>
            <a:grpSpLocks noChangeAspect="1"/>
          </p:cNvGrpSpPr>
          <p:nvPr/>
        </p:nvGrpSpPr>
        <p:grpSpPr>
          <a:xfrm>
            <a:off x="7606528" y="1541630"/>
            <a:ext cx="335171" cy="335171"/>
            <a:chOff x="5273675" y="2606675"/>
            <a:chExt cx="1646238" cy="1646238"/>
          </a:xfrm>
        </p:grpSpPr>
        <p:sp>
          <p:nvSpPr>
            <p:cNvPr id="11" name="AutoShape 3">
              <a:extLst>
                <a:ext uri="{FF2B5EF4-FFF2-40B4-BE49-F238E27FC236}">
                  <a16:creationId xmlns:a16="http://schemas.microsoft.com/office/drawing/2014/main" id="{769B0501-FE60-2345-910D-21216CB9835C}"/>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Calibri"/>
                <a:ea typeface="+mn-ea"/>
                <a:cs typeface="+mn-cs"/>
              </a:endParaRPr>
            </a:p>
          </p:txBody>
        </p:sp>
        <p:sp>
          <p:nvSpPr>
            <p:cNvPr id="12" name="Freeform 16">
              <a:extLst>
                <a:ext uri="{FF2B5EF4-FFF2-40B4-BE49-F238E27FC236}">
                  <a16:creationId xmlns:a16="http://schemas.microsoft.com/office/drawing/2014/main" id="{1474835E-7484-C841-9757-40123A808AC4}"/>
                </a:ext>
              </a:extLst>
            </p:cNvPr>
            <p:cNvSpPr>
              <a:spLocks/>
            </p:cNvSpPr>
            <p:nvPr/>
          </p:nvSpPr>
          <p:spPr bwMode="auto">
            <a:xfrm>
              <a:off x="5454175" y="2800350"/>
              <a:ext cx="1283708" cy="1206501"/>
            </a:xfrm>
            <a:custGeom>
              <a:avLst/>
              <a:gdLst>
                <a:gd name="connsiteX0" fmla="*/ 952182 w 1283708"/>
                <a:gd name="connsiteY0" fmla="*/ 1065213 h 1206501"/>
                <a:gd name="connsiteX1" fmla="*/ 984726 w 1283708"/>
                <a:gd name="connsiteY1" fmla="*/ 1097757 h 1206501"/>
                <a:gd name="connsiteX2" fmla="*/ 952182 w 1283708"/>
                <a:gd name="connsiteY2" fmla="*/ 1130301 h 1206501"/>
                <a:gd name="connsiteX3" fmla="*/ 919638 w 1283708"/>
                <a:gd name="connsiteY3" fmla="*/ 1097757 h 1206501"/>
                <a:gd name="connsiteX4" fmla="*/ 952182 w 1283708"/>
                <a:gd name="connsiteY4" fmla="*/ 1065213 h 1206501"/>
                <a:gd name="connsiteX5" fmla="*/ 877762 w 1283708"/>
                <a:gd name="connsiteY5" fmla="*/ 912813 h 1206501"/>
                <a:gd name="connsiteX6" fmla="*/ 911989 w 1283708"/>
                <a:gd name="connsiteY6" fmla="*/ 914952 h 1206501"/>
                <a:gd name="connsiteX7" fmla="*/ 939799 w 1283708"/>
                <a:gd name="connsiteY7" fmla="*/ 1032569 h 1206501"/>
                <a:gd name="connsiteX8" fmla="*/ 884893 w 1283708"/>
                <a:gd name="connsiteY8" fmla="*/ 1097437 h 1206501"/>
                <a:gd name="connsiteX9" fmla="*/ 958339 w 1283708"/>
                <a:gd name="connsiteY9" fmla="*/ 1163018 h 1206501"/>
                <a:gd name="connsiteX10" fmla="*/ 1016810 w 1283708"/>
                <a:gd name="connsiteY10" fmla="*/ 1105279 h 1206501"/>
                <a:gd name="connsiteX11" fmla="*/ 964756 w 1283708"/>
                <a:gd name="connsiteY11" fmla="*/ 1032569 h 1206501"/>
                <a:gd name="connsiteX12" fmla="*/ 942651 w 1283708"/>
                <a:gd name="connsiteY12" fmla="*/ 917090 h 1206501"/>
                <a:gd name="connsiteX13" fmla="*/ 1127336 w 1283708"/>
                <a:gd name="connsiteY13" fmla="*/ 959147 h 1206501"/>
                <a:gd name="connsiteX14" fmla="*/ 1282785 w 1283708"/>
                <a:gd name="connsiteY14" fmla="*/ 1185116 h 1206501"/>
                <a:gd name="connsiteX15" fmla="*/ 1267810 w 1283708"/>
                <a:gd name="connsiteY15" fmla="*/ 1206501 h 1206501"/>
                <a:gd name="connsiteX16" fmla="*/ 549750 w 1283708"/>
                <a:gd name="connsiteY16" fmla="*/ 1206501 h 1206501"/>
                <a:gd name="connsiteX17" fmla="*/ 877762 w 1283708"/>
                <a:gd name="connsiteY17" fmla="*/ 912813 h 1206501"/>
                <a:gd name="connsiteX18" fmla="*/ 433181 w 1283708"/>
                <a:gd name="connsiteY18" fmla="*/ 911225 h 1206501"/>
                <a:gd name="connsiteX19" fmla="*/ 613250 w 1283708"/>
                <a:gd name="connsiteY19" fmla="*/ 1116634 h 1206501"/>
                <a:gd name="connsiteX20" fmla="*/ 512497 w 1283708"/>
                <a:gd name="connsiteY20" fmla="*/ 1206500 h 1206501"/>
                <a:gd name="connsiteX21" fmla="*/ 15878 w 1283708"/>
                <a:gd name="connsiteY21" fmla="*/ 1206500 h 1206501"/>
                <a:gd name="connsiteX22" fmla="*/ 873 w 1283708"/>
                <a:gd name="connsiteY22" fmla="*/ 1185103 h 1206501"/>
                <a:gd name="connsiteX23" fmla="*/ 156646 w 1283708"/>
                <a:gd name="connsiteY23" fmla="*/ 958298 h 1206501"/>
                <a:gd name="connsiteX24" fmla="*/ 365298 w 1283708"/>
                <a:gd name="connsiteY24" fmla="*/ 914078 h 1206501"/>
                <a:gd name="connsiteX25" fmla="*/ 349577 w 1283708"/>
                <a:gd name="connsiteY25" fmla="*/ 958298 h 1206501"/>
                <a:gd name="connsiteX26" fmla="*/ 280980 w 1283708"/>
                <a:gd name="connsiteY26" fmla="*/ 988253 h 1206501"/>
                <a:gd name="connsiteX27" fmla="*/ 232390 w 1283708"/>
                <a:gd name="connsiteY27" fmla="*/ 1151582 h 1206501"/>
                <a:gd name="connsiteX28" fmla="*/ 244537 w 1283708"/>
                <a:gd name="connsiteY28" fmla="*/ 1162993 h 1206501"/>
                <a:gd name="connsiteX29" fmla="*/ 268118 w 1283708"/>
                <a:gd name="connsiteY29" fmla="*/ 1162993 h 1206501"/>
                <a:gd name="connsiteX30" fmla="*/ 280980 w 1283708"/>
                <a:gd name="connsiteY30" fmla="*/ 1149442 h 1206501"/>
                <a:gd name="connsiteX31" fmla="*/ 267403 w 1283708"/>
                <a:gd name="connsiteY31" fmla="*/ 1138744 h 1206501"/>
                <a:gd name="connsiteX32" fmla="*/ 256685 w 1283708"/>
                <a:gd name="connsiteY32" fmla="*/ 1138744 h 1206501"/>
                <a:gd name="connsiteX33" fmla="*/ 298844 w 1283708"/>
                <a:gd name="connsiteY33" fmla="*/ 1006084 h 1206501"/>
                <a:gd name="connsiteX34" fmla="*/ 355294 w 1283708"/>
                <a:gd name="connsiteY34" fmla="*/ 982548 h 1206501"/>
                <a:gd name="connsiteX35" fmla="*/ 361725 w 1283708"/>
                <a:gd name="connsiteY35" fmla="*/ 982548 h 1206501"/>
                <a:gd name="connsiteX36" fmla="*/ 408171 w 1283708"/>
                <a:gd name="connsiteY36" fmla="*/ 1005371 h 1206501"/>
                <a:gd name="connsiteX37" fmla="*/ 436754 w 1283708"/>
                <a:gd name="connsiteY37" fmla="*/ 1138744 h 1206501"/>
                <a:gd name="connsiteX38" fmla="*/ 416746 w 1283708"/>
                <a:gd name="connsiteY38" fmla="*/ 1138744 h 1206501"/>
                <a:gd name="connsiteX39" fmla="*/ 404598 w 1283708"/>
                <a:gd name="connsiteY39" fmla="*/ 1152295 h 1206501"/>
                <a:gd name="connsiteX40" fmla="*/ 417461 w 1283708"/>
                <a:gd name="connsiteY40" fmla="*/ 1162993 h 1206501"/>
                <a:gd name="connsiteX41" fmla="*/ 448187 w 1283708"/>
                <a:gd name="connsiteY41" fmla="*/ 1162993 h 1206501"/>
                <a:gd name="connsiteX42" fmla="*/ 460334 w 1283708"/>
                <a:gd name="connsiteY42" fmla="*/ 1152295 h 1206501"/>
                <a:gd name="connsiteX43" fmla="*/ 426750 w 1283708"/>
                <a:gd name="connsiteY43" fmla="*/ 988967 h 1206501"/>
                <a:gd name="connsiteX44" fmla="*/ 374587 w 1283708"/>
                <a:gd name="connsiteY44" fmla="*/ 959724 h 1206501"/>
                <a:gd name="connsiteX45" fmla="*/ 396024 w 1283708"/>
                <a:gd name="connsiteY45" fmla="*/ 912652 h 1206501"/>
                <a:gd name="connsiteX46" fmla="*/ 433181 w 1283708"/>
                <a:gd name="connsiteY46" fmla="*/ 911225 h 1206501"/>
                <a:gd name="connsiteX47" fmla="*/ 300513 w 1283708"/>
                <a:gd name="connsiteY47" fmla="*/ 520700 h 1206501"/>
                <a:gd name="connsiteX48" fmla="*/ 336959 w 1283708"/>
                <a:gd name="connsiteY48" fmla="*/ 537845 h 1206501"/>
                <a:gd name="connsiteX49" fmla="*/ 369831 w 1283708"/>
                <a:gd name="connsiteY49" fmla="*/ 575707 h 1206501"/>
                <a:gd name="connsiteX50" fmla="*/ 377692 w 1283708"/>
                <a:gd name="connsiteY50" fmla="*/ 584280 h 1206501"/>
                <a:gd name="connsiteX51" fmla="*/ 479884 w 1283708"/>
                <a:gd name="connsiteY51" fmla="*/ 800021 h 1206501"/>
                <a:gd name="connsiteX52" fmla="*/ 641389 w 1283708"/>
                <a:gd name="connsiteY52" fmla="*/ 880745 h 1206501"/>
                <a:gd name="connsiteX53" fmla="*/ 802895 w 1283708"/>
                <a:gd name="connsiteY53" fmla="*/ 800021 h 1206501"/>
                <a:gd name="connsiteX54" fmla="*/ 905086 w 1283708"/>
                <a:gd name="connsiteY54" fmla="*/ 584280 h 1206501"/>
                <a:gd name="connsiteX55" fmla="*/ 912233 w 1283708"/>
                <a:gd name="connsiteY55" fmla="*/ 575707 h 1206501"/>
                <a:gd name="connsiteX56" fmla="*/ 945105 w 1283708"/>
                <a:gd name="connsiteY56" fmla="*/ 537845 h 1206501"/>
                <a:gd name="connsiteX57" fmla="*/ 981551 w 1283708"/>
                <a:gd name="connsiteY57" fmla="*/ 520700 h 1206501"/>
                <a:gd name="connsiteX58" fmla="*/ 981551 w 1283708"/>
                <a:gd name="connsiteY58" fmla="*/ 522843 h 1206501"/>
                <a:gd name="connsiteX59" fmla="*/ 932242 w 1283708"/>
                <a:gd name="connsiteY59" fmla="*/ 600710 h 1206501"/>
                <a:gd name="connsiteX60" fmla="*/ 830051 w 1283708"/>
                <a:gd name="connsiteY60" fmla="*/ 816451 h 1206501"/>
                <a:gd name="connsiteX61" fmla="*/ 830051 w 1283708"/>
                <a:gd name="connsiteY61" fmla="*/ 886460 h 1206501"/>
                <a:gd name="connsiteX62" fmla="*/ 825048 w 1283708"/>
                <a:gd name="connsiteY62" fmla="*/ 893604 h 1206501"/>
                <a:gd name="connsiteX63" fmla="*/ 798607 w 1283708"/>
                <a:gd name="connsiteY63" fmla="*/ 920750 h 1206501"/>
                <a:gd name="connsiteX64" fmla="*/ 798607 w 1283708"/>
                <a:gd name="connsiteY64" fmla="*/ 842883 h 1206501"/>
                <a:gd name="connsiteX65" fmla="*/ 641389 w 1283708"/>
                <a:gd name="connsiteY65" fmla="*/ 912178 h 1206501"/>
                <a:gd name="connsiteX66" fmla="*/ 484171 w 1283708"/>
                <a:gd name="connsiteY66" fmla="*/ 842883 h 1206501"/>
                <a:gd name="connsiteX67" fmla="*/ 484171 w 1283708"/>
                <a:gd name="connsiteY67" fmla="*/ 920750 h 1206501"/>
                <a:gd name="connsiteX68" fmla="*/ 458445 w 1283708"/>
                <a:gd name="connsiteY68" fmla="*/ 893604 h 1206501"/>
                <a:gd name="connsiteX69" fmla="*/ 452728 w 1283708"/>
                <a:gd name="connsiteY69" fmla="*/ 886460 h 1206501"/>
                <a:gd name="connsiteX70" fmla="*/ 452728 w 1283708"/>
                <a:gd name="connsiteY70" fmla="*/ 816451 h 1206501"/>
                <a:gd name="connsiteX71" fmla="*/ 350537 w 1283708"/>
                <a:gd name="connsiteY71" fmla="*/ 600710 h 1206501"/>
                <a:gd name="connsiteX72" fmla="*/ 301227 w 1283708"/>
                <a:gd name="connsiteY72" fmla="*/ 524272 h 1206501"/>
                <a:gd name="connsiteX73" fmla="*/ 300513 w 1283708"/>
                <a:gd name="connsiteY73" fmla="*/ 520700 h 1206501"/>
                <a:gd name="connsiteX74" fmla="*/ 699848 w 1283708"/>
                <a:gd name="connsiteY74" fmla="*/ 0 h 1206501"/>
                <a:gd name="connsiteX75" fmla="*/ 674820 w 1283708"/>
                <a:gd name="connsiteY75" fmla="*/ 17188 h 1206501"/>
                <a:gd name="connsiteX76" fmla="*/ 829995 w 1283708"/>
                <a:gd name="connsiteY76" fmla="*/ 20053 h 1206501"/>
                <a:gd name="connsiteX77" fmla="*/ 798531 w 1283708"/>
                <a:gd name="connsiteY77" fmla="*/ 35093 h 1206501"/>
                <a:gd name="connsiteX78" fmla="*/ 935828 w 1283708"/>
                <a:gd name="connsiteY78" fmla="*/ 65172 h 1206501"/>
                <a:gd name="connsiteX79" fmla="*/ 909370 w 1283708"/>
                <a:gd name="connsiteY79" fmla="*/ 71618 h 1206501"/>
                <a:gd name="connsiteX80" fmla="*/ 1018063 w 1283708"/>
                <a:gd name="connsiteY80" fmla="*/ 158992 h 1206501"/>
                <a:gd name="connsiteX81" fmla="*/ 975158 w 1283708"/>
                <a:gd name="connsiteY81" fmla="*/ 146101 h 1206501"/>
                <a:gd name="connsiteX82" fmla="*/ 1012342 w 1283708"/>
                <a:gd name="connsiteY82" fmla="*/ 212706 h 1206501"/>
                <a:gd name="connsiteX83" fmla="*/ 957281 w 1283708"/>
                <a:gd name="connsiteY83" fmla="*/ 178329 h 1206501"/>
                <a:gd name="connsiteX84" fmla="*/ 919381 w 1283708"/>
                <a:gd name="connsiteY84" fmla="*/ 173316 h 1206501"/>
                <a:gd name="connsiteX85" fmla="*/ 983739 w 1283708"/>
                <a:gd name="connsiteY85" fmla="*/ 370266 h 1206501"/>
                <a:gd name="connsiteX86" fmla="*/ 971582 w 1283708"/>
                <a:gd name="connsiteY86" fmla="*/ 483423 h 1206501"/>
                <a:gd name="connsiteX87" fmla="*/ 970867 w 1283708"/>
                <a:gd name="connsiteY87" fmla="*/ 482707 h 1206501"/>
                <a:gd name="connsiteX88" fmla="*/ 932967 w 1283708"/>
                <a:gd name="connsiteY88" fmla="*/ 534988 h 1206501"/>
                <a:gd name="connsiteX89" fmla="*/ 907224 w 1283708"/>
                <a:gd name="connsiteY89" fmla="*/ 534988 h 1206501"/>
                <a:gd name="connsiteX90" fmla="*/ 904364 w 1283708"/>
                <a:gd name="connsiteY90" fmla="*/ 288621 h 1206501"/>
                <a:gd name="connsiteX91" fmla="*/ 666238 w 1283708"/>
                <a:gd name="connsiteY91" fmla="*/ 439736 h 1206501"/>
                <a:gd name="connsiteX92" fmla="*/ 694127 w 1283708"/>
                <a:gd name="connsiteY92" fmla="*/ 370982 h 1206501"/>
                <a:gd name="connsiteX93" fmla="*/ 696272 w 1283708"/>
                <a:gd name="connsiteY93" fmla="*/ 365253 h 1206501"/>
                <a:gd name="connsiteX94" fmla="*/ 691267 w 1283708"/>
                <a:gd name="connsiteY94" fmla="*/ 370982 h 1206501"/>
                <a:gd name="connsiteX95" fmla="*/ 518215 w 1283708"/>
                <a:gd name="connsiteY95" fmla="*/ 402494 h 1206501"/>
                <a:gd name="connsiteX96" fmla="*/ 587579 w 1283708"/>
                <a:gd name="connsiteY96" fmla="*/ 348064 h 1206501"/>
                <a:gd name="connsiteX97" fmla="*/ 591154 w 1283708"/>
                <a:gd name="connsiteY97" fmla="*/ 345200 h 1206501"/>
                <a:gd name="connsiteX98" fmla="*/ 586863 w 1283708"/>
                <a:gd name="connsiteY98" fmla="*/ 348064 h 1206501"/>
                <a:gd name="connsiteX99" fmla="*/ 423823 w 1283708"/>
                <a:gd name="connsiteY99" fmla="*/ 373847 h 1206501"/>
                <a:gd name="connsiteX100" fmla="*/ 484606 w 1283708"/>
                <a:gd name="connsiteY100" fmla="*/ 314404 h 1206501"/>
                <a:gd name="connsiteX101" fmla="*/ 458147 w 1283708"/>
                <a:gd name="connsiteY101" fmla="*/ 303661 h 1206501"/>
                <a:gd name="connsiteX102" fmla="*/ 375197 w 1283708"/>
                <a:gd name="connsiteY102" fmla="*/ 530691 h 1206501"/>
                <a:gd name="connsiteX103" fmla="*/ 352314 w 1283708"/>
                <a:gd name="connsiteY103" fmla="*/ 528543 h 1206501"/>
                <a:gd name="connsiteX104" fmla="*/ 317990 w 1283708"/>
                <a:gd name="connsiteY104" fmla="*/ 487720 h 1206501"/>
                <a:gd name="connsiteX105" fmla="*/ 317990 w 1283708"/>
                <a:gd name="connsiteY105" fmla="*/ 487004 h 1206501"/>
                <a:gd name="connsiteX106" fmla="*/ 305118 w 1283708"/>
                <a:gd name="connsiteY106" fmla="*/ 370266 h 1206501"/>
                <a:gd name="connsiteX107" fmla="*/ 528941 w 1283708"/>
                <a:gd name="connsiteY107" fmla="*/ 54430 h 1206501"/>
                <a:gd name="connsiteX108" fmla="*/ 699848 w 1283708"/>
                <a:gd name="connsiteY108" fmla="*/ 0 h 120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283708" h="1206501">
                  <a:moveTo>
                    <a:pt x="952182" y="1065213"/>
                  </a:moveTo>
                  <a:cubicBezTo>
                    <a:pt x="970156" y="1065213"/>
                    <a:pt x="984726" y="1079783"/>
                    <a:pt x="984726" y="1097757"/>
                  </a:cubicBezTo>
                  <a:cubicBezTo>
                    <a:pt x="984726" y="1115731"/>
                    <a:pt x="970156" y="1130301"/>
                    <a:pt x="952182" y="1130301"/>
                  </a:cubicBezTo>
                  <a:cubicBezTo>
                    <a:pt x="934208" y="1130301"/>
                    <a:pt x="919638" y="1115731"/>
                    <a:pt x="919638" y="1097757"/>
                  </a:cubicBezTo>
                  <a:cubicBezTo>
                    <a:pt x="919638" y="1079783"/>
                    <a:pt x="934208" y="1065213"/>
                    <a:pt x="952182" y="1065213"/>
                  </a:cubicBezTo>
                  <a:close/>
                  <a:moveTo>
                    <a:pt x="877762" y="912813"/>
                  </a:moveTo>
                  <a:cubicBezTo>
                    <a:pt x="887032" y="912813"/>
                    <a:pt x="898441" y="913526"/>
                    <a:pt x="911989" y="914952"/>
                  </a:cubicBezTo>
                  <a:cubicBezTo>
                    <a:pt x="941938" y="953445"/>
                    <a:pt x="939799" y="1026867"/>
                    <a:pt x="939799" y="1032569"/>
                  </a:cubicBezTo>
                  <a:cubicBezTo>
                    <a:pt x="909137" y="1037559"/>
                    <a:pt x="884893" y="1064647"/>
                    <a:pt x="884893" y="1097437"/>
                  </a:cubicBezTo>
                  <a:cubicBezTo>
                    <a:pt x="884893" y="1135930"/>
                    <a:pt x="919120" y="1167295"/>
                    <a:pt x="958339" y="1163018"/>
                  </a:cubicBezTo>
                  <a:cubicBezTo>
                    <a:pt x="989001" y="1159454"/>
                    <a:pt x="1013245" y="1135218"/>
                    <a:pt x="1016810" y="1105279"/>
                  </a:cubicBezTo>
                  <a:cubicBezTo>
                    <a:pt x="1020376" y="1069637"/>
                    <a:pt x="996844" y="1039698"/>
                    <a:pt x="964756" y="1032569"/>
                  </a:cubicBezTo>
                  <a:cubicBezTo>
                    <a:pt x="964756" y="1024015"/>
                    <a:pt x="966182" y="962712"/>
                    <a:pt x="942651" y="917090"/>
                  </a:cubicBezTo>
                  <a:cubicBezTo>
                    <a:pt x="1001836" y="923506"/>
                    <a:pt x="1075995" y="934911"/>
                    <a:pt x="1127336" y="959147"/>
                  </a:cubicBezTo>
                  <a:cubicBezTo>
                    <a:pt x="1205773" y="994789"/>
                    <a:pt x="1263532" y="1132366"/>
                    <a:pt x="1282785" y="1185116"/>
                  </a:cubicBezTo>
                  <a:cubicBezTo>
                    <a:pt x="1286350" y="1195096"/>
                    <a:pt x="1279220" y="1206501"/>
                    <a:pt x="1267810" y="1206501"/>
                  </a:cubicBezTo>
                  <a:cubicBezTo>
                    <a:pt x="1267810" y="1206501"/>
                    <a:pt x="1267810" y="1206501"/>
                    <a:pt x="549750" y="1206501"/>
                  </a:cubicBezTo>
                  <a:cubicBezTo>
                    <a:pt x="549750" y="1206501"/>
                    <a:pt x="876336" y="912813"/>
                    <a:pt x="877762" y="912813"/>
                  </a:cubicBezTo>
                  <a:close/>
                  <a:moveTo>
                    <a:pt x="433181" y="911225"/>
                  </a:moveTo>
                  <a:cubicBezTo>
                    <a:pt x="613250" y="1116634"/>
                    <a:pt x="613250" y="1116634"/>
                    <a:pt x="613250" y="1116634"/>
                  </a:cubicBezTo>
                  <a:cubicBezTo>
                    <a:pt x="613250" y="1116634"/>
                    <a:pt x="613250" y="1116634"/>
                    <a:pt x="512497" y="1206500"/>
                  </a:cubicBezTo>
                  <a:cubicBezTo>
                    <a:pt x="512497" y="1206500"/>
                    <a:pt x="512497" y="1206500"/>
                    <a:pt x="15878" y="1206500"/>
                  </a:cubicBezTo>
                  <a:cubicBezTo>
                    <a:pt x="5160" y="1206500"/>
                    <a:pt x="-2700" y="1195089"/>
                    <a:pt x="873" y="1185103"/>
                  </a:cubicBezTo>
                  <a:cubicBezTo>
                    <a:pt x="20880" y="1131612"/>
                    <a:pt x="78045" y="993959"/>
                    <a:pt x="156646" y="958298"/>
                  </a:cubicBezTo>
                  <a:cubicBezTo>
                    <a:pt x="215955" y="930482"/>
                    <a:pt x="303846" y="919071"/>
                    <a:pt x="365298" y="914078"/>
                  </a:cubicBezTo>
                  <a:cubicBezTo>
                    <a:pt x="358867" y="926916"/>
                    <a:pt x="353150" y="941181"/>
                    <a:pt x="349577" y="958298"/>
                  </a:cubicBezTo>
                  <a:cubicBezTo>
                    <a:pt x="322424" y="959011"/>
                    <a:pt x="299558" y="969710"/>
                    <a:pt x="280980" y="988253"/>
                  </a:cubicBezTo>
                  <a:cubicBezTo>
                    <a:pt x="229531" y="1042458"/>
                    <a:pt x="232390" y="1146589"/>
                    <a:pt x="232390" y="1151582"/>
                  </a:cubicBezTo>
                  <a:cubicBezTo>
                    <a:pt x="233104" y="1158001"/>
                    <a:pt x="238106" y="1162993"/>
                    <a:pt x="244537" y="1162993"/>
                  </a:cubicBezTo>
                  <a:cubicBezTo>
                    <a:pt x="244537" y="1162993"/>
                    <a:pt x="244537" y="1162993"/>
                    <a:pt x="268118" y="1162993"/>
                  </a:cubicBezTo>
                  <a:cubicBezTo>
                    <a:pt x="275263" y="1162993"/>
                    <a:pt x="281694" y="1157288"/>
                    <a:pt x="280980" y="1149442"/>
                  </a:cubicBezTo>
                  <a:cubicBezTo>
                    <a:pt x="280265" y="1143023"/>
                    <a:pt x="274549" y="1138744"/>
                    <a:pt x="267403" y="1138744"/>
                  </a:cubicBezTo>
                  <a:cubicBezTo>
                    <a:pt x="267403" y="1138744"/>
                    <a:pt x="267403" y="1138744"/>
                    <a:pt x="256685" y="1138744"/>
                  </a:cubicBezTo>
                  <a:cubicBezTo>
                    <a:pt x="257399" y="1110928"/>
                    <a:pt x="263116" y="1042458"/>
                    <a:pt x="298844" y="1006084"/>
                  </a:cubicBezTo>
                  <a:cubicBezTo>
                    <a:pt x="313849" y="990393"/>
                    <a:pt x="332428" y="982548"/>
                    <a:pt x="355294" y="982548"/>
                  </a:cubicBezTo>
                  <a:cubicBezTo>
                    <a:pt x="355294" y="982548"/>
                    <a:pt x="358152" y="982548"/>
                    <a:pt x="361725" y="982548"/>
                  </a:cubicBezTo>
                  <a:cubicBezTo>
                    <a:pt x="381018" y="983974"/>
                    <a:pt x="396024" y="991820"/>
                    <a:pt x="408171" y="1005371"/>
                  </a:cubicBezTo>
                  <a:cubicBezTo>
                    <a:pt x="440326" y="1041745"/>
                    <a:pt x="438897" y="1111641"/>
                    <a:pt x="436754" y="1138744"/>
                  </a:cubicBezTo>
                  <a:cubicBezTo>
                    <a:pt x="436754" y="1138744"/>
                    <a:pt x="436754" y="1138744"/>
                    <a:pt x="416746" y="1138744"/>
                  </a:cubicBezTo>
                  <a:cubicBezTo>
                    <a:pt x="409600" y="1138744"/>
                    <a:pt x="403884" y="1144450"/>
                    <a:pt x="404598" y="1152295"/>
                  </a:cubicBezTo>
                  <a:cubicBezTo>
                    <a:pt x="405313" y="1158714"/>
                    <a:pt x="411030" y="1162993"/>
                    <a:pt x="417461" y="1162993"/>
                  </a:cubicBezTo>
                  <a:cubicBezTo>
                    <a:pt x="417461" y="1162993"/>
                    <a:pt x="417461" y="1162993"/>
                    <a:pt x="448187" y="1162993"/>
                  </a:cubicBezTo>
                  <a:cubicBezTo>
                    <a:pt x="453903" y="1162993"/>
                    <a:pt x="459620" y="1158714"/>
                    <a:pt x="460334" y="1152295"/>
                  </a:cubicBezTo>
                  <a:cubicBezTo>
                    <a:pt x="461049" y="1148016"/>
                    <a:pt x="473911" y="1042458"/>
                    <a:pt x="426750" y="988967"/>
                  </a:cubicBezTo>
                  <a:cubicBezTo>
                    <a:pt x="413173" y="972562"/>
                    <a:pt x="395309" y="963291"/>
                    <a:pt x="374587" y="959724"/>
                  </a:cubicBezTo>
                  <a:cubicBezTo>
                    <a:pt x="379589" y="939041"/>
                    <a:pt x="386735" y="923350"/>
                    <a:pt x="396024" y="912652"/>
                  </a:cubicBezTo>
                  <a:cubicBezTo>
                    <a:pt x="418890" y="911225"/>
                    <a:pt x="433181" y="911225"/>
                    <a:pt x="433181" y="911225"/>
                  </a:cubicBezTo>
                  <a:close/>
                  <a:moveTo>
                    <a:pt x="300513" y="520700"/>
                  </a:moveTo>
                  <a:cubicBezTo>
                    <a:pt x="300513" y="520700"/>
                    <a:pt x="300513" y="520700"/>
                    <a:pt x="336959" y="537845"/>
                  </a:cubicBezTo>
                  <a:cubicBezTo>
                    <a:pt x="341961" y="551418"/>
                    <a:pt x="351966" y="567135"/>
                    <a:pt x="369831" y="575707"/>
                  </a:cubicBezTo>
                  <a:cubicBezTo>
                    <a:pt x="373405" y="577850"/>
                    <a:pt x="376263" y="580708"/>
                    <a:pt x="377692" y="584280"/>
                  </a:cubicBezTo>
                  <a:cubicBezTo>
                    <a:pt x="406277" y="657860"/>
                    <a:pt x="459874" y="781447"/>
                    <a:pt x="479884" y="800021"/>
                  </a:cubicBezTo>
                  <a:cubicBezTo>
                    <a:pt x="512042" y="827881"/>
                    <a:pt x="595653" y="880745"/>
                    <a:pt x="641389" y="880745"/>
                  </a:cubicBezTo>
                  <a:cubicBezTo>
                    <a:pt x="687840" y="880745"/>
                    <a:pt x="770737" y="827881"/>
                    <a:pt x="802895" y="800021"/>
                  </a:cubicBezTo>
                  <a:cubicBezTo>
                    <a:pt x="823619" y="781447"/>
                    <a:pt x="876501" y="657860"/>
                    <a:pt x="905086" y="584280"/>
                  </a:cubicBezTo>
                  <a:cubicBezTo>
                    <a:pt x="906516" y="580708"/>
                    <a:pt x="908659" y="577850"/>
                    <a:pt x="912233" y="575707"/>
                  </a:cubicBezTo>
                  <a:cubicBezTo>
                    <a:pt x="930098" y="567135"/>
                    <a:pt x="940103" y="551418"/>
                    <a:pt x="945105" y="537845"/>
                  </a:cubicBezTo>
                  <a:cubicBezTo>
                    <a:pt x="981551" y="520700"/>
                    <a:pt x="981551" y="520700"/>
                    <a:pt x="981551" y="520700"/>
                  </a:cubicBezTo>
                  <a:cubicBezTo>
                    <a:pt x="981551" y="521415"/>
                    <a:pt x="981551" y="522129"/>
                    <a:pt x="981551" y="522843"/>
                  </a:cubicBezTo>
                  <a:cubicBezTo>
                    <a:pt x="979407" y="539274"/>
                    <a:pt x="969403" y="579279"/>
                    <a:pt x="932242" y="600710"/>
                  </a:cubicBezTo>
                  <a:cubicBezTo>
                    <a:pt x="916520" y="640715"/>
                    <a:pt x="862209" y="776446"/>
                    <a:pt x="830051" y="816451"/>
                  </a:cubicBezTo>
                  <a:cubicBezTo>
                    <a:pt x="830051" y="816451"/>
                    <a:pt x="830051" y="816451"/>
                    <a:pt x="830051" y="886460"/>
                  </a:cubicBezTo>
                  <a:cubicBezTo>
                    <a:pt x="830051" y="886460"/>
                    <a:pt x="830051" y="886460"/>
                    <a:pt x="825048" y="893604"/>
                  </a:cubicBezTo>
                  <a:cubicBezTo>
                    <a:pt x="824334" y="895033"/>
                    <a:pt x="815044" y="906463"/>
                    <a:pt x="798607" y="920750"/>
                  </a:cubicBezTo>
                  <a:cubicBezTo>
                    <a:pt x="798607" y="920750"/>
                    <a:pt x="798607" y="920750"/>
                    <a:pt x="798607" y="842883"/>
                  </a:cubicBezTo>
                  <a:cubicBezTo>
                    <a:pt x="756444" y="873601"/>
                    <a:pt x="687840" y="912178"/>
                    <a:pt x="641389" y="912178"/>
                  </a:cubicBezTo>
                  <a:cubicBezTo>
                    <a:pt x="594938" y="912178"/>
                    <a:pt x="527049" y="873601"/>
                    <a:pt x="484171" y="842883"/>
                  </a:cubicBezTo>
                  <a:cubicBezTo>
                    <a:pt x="484171" y="842883"/>
                    <a:pt x="484171" y="842883"/>
                    <a:pt x="484171" y="920750"/>
                  </a:cubicBezTo>
                  <a:cubicBezTo>
                    <a:pt x="467735" y="906463"/>
                    <a:pt x="459160" y="895033"/>
                    <a:pt x="458445" y="893604"/>
                  </a:cubicBezTo>
                  <a:cubicBezTo>
                    <a:pt x="458445" y="893604"/>
                    <a:pt x="458445" y="893604"/>
                    <a:pt x="452728" y="886460"/>
                  </a:cubicBezTo>
                  <a:cubicBezTo>
                    <a:pt x="452728" y="886460"/>
                    <a:pt x="452728" y="886460"/>
                    <a:pt x="452728" y="816451"/>
                  </a:cubicBezTo>
                  <a:cubicBezTo>
                    <a:pt x="420570" y="777161"/>
                    <a:pt x="366258" y="640715"/>
                    <a:pt x="350537" y="600710"/>
                  </a:cubicBezTo>
                  <a:cubicBezTo>
                    <a:pt x="314805" y="579993"/>
                    <a:pt x="304086" y="544275"/>
                    <a:pt x="301227" y="524272"/>
                  </a:cubicBezTo>
                  <a:cubicBezTo>
                    <a:pt x="300513" y="523558"/>
                    <a:pt x="300513" y="522129"/>
                    <a:pt x="300513" y="520700"/>
                  </a:cubicBezTo>
                  <a:close/>
                  <a:moveTo>
                    <a:pt x="699848" y="0"/>
                  </a:moveTo>
                  <a:cubicBezTo>
                    <a:pt x="690552" y="4297"/>
                    <a:pt x="681970" y="10026"/>
                    <a:pt x="674820" y="17188"/>
                  </a:cubicBezTo>
                  <a:cubicBezTo>
                    <a:pt x="726306" y="11459"/>
                    <a:pt x="778508" y="12891"/>
                    <a:pt x="829995" y="20053"/>
                  </a:cubicBezTo>
                  <a:cubicBezTo>
                    <a:pt x="817838" y="22202"/>
                    <a:pt x="807112" y="27215"/>
                    <a:pt x="798531" y="35093"/>
                  </a:cubicBezTo>
                  <a:cubicBezTo>
                    <a:pt x="845727" y="26499"/>
                    <a:pt x="896498" y="37958"/>
                    <a:pt x="935828" y="65172"/>
                  </a:cubicBezTo>
                  <a:cubicBezTo>
                    <a:pt x="935828" y="65172"/>
                    <a:pt x="935828" y="65172"/>
                    <a:pt x="909370" y="71618"/>
                  </a:cubicBezTo>
                  <a:cubicBezTo>
                    <a:pt x="953705" y="90239"/>
                    <a:pt x="991605" y="121035"/>
                    <a:pt x="1018063" y="158992"/>
                  </a:cubicBezTo>
                  <a:cubicBezTo>
                    <a:pt x="1004477" y="153263"/>
                    <a:pt x="990175" y="148966"/>
                    <a:pt x="975158" y="146101"/>
                  </a:cubicBezTo>
                  <a:cubicBezTo>
                    <a:pt x="990890" y="166154"/>
                    <a:pt x="1003046" y="189072"/>
                    <a:pt x="1012342" y="212706"/>
                  </a:cubicBezTo>
                  <a:cubicBezTo>
                    <a:pt x="998041" y="196234"/>
                    <a:pt x="978018" y="184059"/>
                    <a:pt x="957281" y="178329"/>
                  </a:cubicBezTo>
                  <a:cubicBezTo>
                    <a:pt x="945124" y="174748"/>
                    <a:pt x="932252" y="173316"/>
                    <a:pt x="919381" y="173316"/>
                  </a:cubicBezTo>
                  <a:cubicBezTo>
                    <a:pt x="960141" y="228462"/>
                    <a:pt x="983739" y="296499"/>
                    <a:pt x="983739" y="370266"/>
                  </a:cubicBezTo>
                  <a:cubicBezTo>
                    <a:pt x="983739" y="410372"/>
                    <a:pt x="984454" y="448330"/>
                    <a:pt x="971582" y="483423"/>
                  </a:cubicBezTo>
                  <a:cubicBezTo>
                    <a:pt x="971582" y="483423"/>
                    <a:pt x="970867" y="483423"/>
                    <a:pt x="970867" y="482707"/>
                  </a:cubicBezTo>
                  <a:cubicBezTo>
                    <a:pt x="970152" y="483423"/>
                    <a:pt x="964431" y="500611"/>
                    <a:pt x="932967" y="534988"/>
                  </a:cubicBezTo>
                  <a:cubicBezTo>
                    <a:pt x="932967" y="534988"/>
                    <a:pt x="932967" y="534988"/>
                    <a:pt x="907224" y="534988"/>
                  </a:cubicBezTo>
                  <a:cubicBezTo>
                    <a:pt x="907224" y="534988"/>
                    <a:pt x="907224" y="522813"/>
                    <a:pt x="904364" y="288621"/>
                  </a:cubicBezTo>
                  <a:cubicBezTo>
                    <a:pt x="887917" y="398197"/>
                    <a:pt x="666238" y="439736"/>
                    <a:pt x="666238" y="439736"/>
                  </a:cubicBezTo>
                  <a:cubicBezTo>
                    <a:pt x="666238" y="439736"/>
                    <a:pt x="685546" y="392468"/>
                    <a:pt x="694127" y="370982"/>
                  </a:cubicBezTo>
                  <a:cubicBezTo>
                    <a:pt x="694842" y="368834"/>
                    <a:pt x="695557" y="366685"/>
                    <a:pt x="696272" y="365253"/>
                  </a:cubicBezTo>
                  <a:cubicBezTo>
                    <a:pt x="695557" y="367402"/>
                    <a:pt x="693412" y="368834"/>
                    <a:pt x="691267" y="370982"/>
                  </a:cubicBezTo>
                  <a:cubicBezTo>
                    <a:pt x="661233" y="391752"/>
                    <a:pt x="518215" y="402494"/>
                    <a:pt x="518215" y="402494"/>
                  </a:cubicBezTo>
                  <a:cubicBezTo>
                    <a:pt x="518215" y="402494"/>
                    <a:pt x="518215" y="402494"/>
                    <a:pt x="587579" y="348064"/>
                  </a:cubicBezTo>
                  <a:cubicBezTo>
                    <a:pt x="587579" y="348064"/>
                    <a:pt x="587579" y="348064"/>
                    <a:pt x="591154" y="345200"/>
                  </a:cubicBezTo>
                  <a:cubicBezTo>
                    <a:pt x="589724" y="345916"/>
                    <a:pt x="588294" y="347348"/>
                    <a:pt x="586863" y="348064"/>
                  </a:cubicBezTo>
                  <a:cubicBezTo>
                    <a:pt x="538237" y="381009"/>
                    <a:pt x="423823" y="373847"/>
                    <a:pt x="423823" y="373847"/>
                  </a:cubicBezTo>
                  <a:cubicBezTo>
                    <a:pt x="423823" y="373847"/>
                    <a:pt x="423823" y="373847"/>
                    <a:pt x="484606" y="314404"/>
                  </a:cubicBezTo>
                  <a:cubicBezTo>
                    <a:pt x="468158" y="307958"/>
                    <a:pt x="458147" y="303661"/>
                    <a:pt x="458147" y="303661"/>
                  </a:cubicBezTo>
                  <a:cubicBezTo>
                    <a:pt x="357320" y="334457"/>
                    <a:pt x="375197" y="530691"/>
                    <a:pt x="375197" y="530691"/>
                  </a:cubicBezTo>
                  <a:cubicBezTo>
                    <a:pt x="375197" y="530691"/>
                    <a:pt x="375197" y="530691"/>
                    <a:pt x="352314" y="528543"/>
                  </a:cubicBezTo>
                  <a:cubicBezTo>
                    <a:pt x="352314" y="528543"/>
                    <a:pt x="352314" y="516367"/>
                    <a:pt x="317990" y="487720"/>
                  </a:cubicBezTo>
                  <a:cubicBezTo>
                    <a:pt x="317990" y="487004"/>
                    <a:pt x="317990" y="487004"/>
                    <a:pt x="317990" y="487004"/>
                  </a:cubicBezTo>
                  <a:cubicBezTo>
                    <a:pt x="303688" y="450479"/>
                    <a:pt x="305118" y="411089"/>
                    <a:pt x="305118" y="370266"/>
                  </a:cubicBezTo>
                  <a:cubicBezTo>
                    <a:pt x="305118" y="224165"/>
                    <a:pt x="396649" y="100265"/>
                    <a:pt x="528941" y="54430"/>
                  </a:cubicBezTo>
                  <a:cubicBezTo>
                    <a:pt x="584003" y="30796"/>
                    <a:pt x="641210" y="12175"/>
                    <a:pt x="699848"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Calibri"/>
                <a:ea typeface="+mn-ea"/>
                <a:cs typeface="+mn-cs"/>
              </a:endParaRPr>
            </a:p>
          </p:txBody>
        </p:sp>
      </p:grpSp>
      <p:grpSp>
        <p:nvGrpSpPr>
          <p:cNvPr id="13" name="Group 12">
            <a:extLst>
              <a:ext uri="{FF2B5EF4-FFF2-40B4-BE49-F238E27FC236}">
                <a16:creationId xmlns:a16="http://schemas.microsoft.com/office/drawing/2014/main" id="{4E924706-A2C7-554A-A2C2-CC167572579B}"/>
              </a:ext>
            </a:extLst>
          </p:cNvPr>
          <p:cNvGrpSpPr>
            <a:grpSpLocks noChangeAspect="1"/>
          </p:cNvGrpSpPr>
          <p:nvPr/>
        </p:nvGrpSpPr>
        <p:grpSpPr>
          <a:xfrm>
            <a:off x="2057400" y="1541630"/>
            <a:ext cx="335171" cy="334847"/>
            <a:chOff x="5273675" y="2606675"/>
            <a:chExt cx="1646238" cy="1644650"/>
          </a:xfrm>
        </p:grpSpPr>
        <p:sp>
          <p:nvSpPr>
            <p:cNvPr id="14" name="AutoShape 3">
              <a:extLst>
                <a:ext uri="{FF2B5EF4-FFF2-40B4-BE49-F238E27FC236}">
                  <a16:creationId xmlns:a16="http://schemas.microsoft.com/office/drawing/2014/main" id="{77E448A9-8DF8-3647-8308-B9670832A5FE}"/>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Calibri"/>
                <a:ea typeface="+mn-ea"/>
                <a:cs typeface="+mn-cs"/>
              </a:endParaRPr>
            </a:p>
          </p:txBody>
        </p:sp>
        <p:sp>
          <p:nvSpPr>
            <p:cNvPr id="15" name="Freeform 31">
              <a:extLst>
                <a:ext uri="{FF2B5EF4-FFF2-40B4-BE49-F238E27FC236}">
                  <a16:creationId xmlns:a16="http://schemas.microsoft.com/office/drawing/2014/main" id="{A7043808-5EBE-6041-924E-2AA9229DC5E7}"/>
                </a:ext>
              </a:extLst>
            </p:cNvPr>
            <p:cNvSpPr>
              <a:spLocks/>
            </p:cNvSpPr>
            <p:nvPr/>
          </p:nvSpPr>
          <p:spPr bwMode="auto">
            <a:xfrm>
              <a:off x="5343137" y="2865438"/>
              <a:ext cx="1505727" cy="1214437"/>
            </a:xfrm>
            <a:custGeom>
              <a:avLst/>
              <a:gdLst>
                <a:gd name="connsiteX0" fmla="*/ 350794 w 1505727"/>
                <a:gd name="connsiteY0" fmla="*/ 1090612 h 1214437"/>
                <a:gd name="connsiteX1" fmla="*/ 1154933 w 1505727"/>
                <a:gd name="connsiteY1" fmla="*/ 1090612 h 1214437"/>
                <a:gd name="connsiteX2" fmla="*/ 1169944 w 1505727"/>
                <a:gd name="connsiteY2" fmla="*/ 1105557 h 1214437"/>
                <a:gd name="connsiteX3" fmla="*/ 1169944 w 1505727"/>
                <a:gd name="connsiteY3" fmla="*/ 1126194 h 1214437"/>
                <a:gd name="connsiteX4" fmla="*/ 1214976 w 1505727"/>
                <a:gd name="connsiteY4" fmla="*/ 1126194 h 1214437"/>
                <a:gd name="connsiteX5" fmla="*/ 1230701 w 1505727"/>
                <a:gd name="connsiteY5" fmla="*/ 1141850 h 1214437"/>
                <a:gd name="connsiteX6" fmla="*/ 1230701 w 1505727"/>
                <a:gd name="connsiteY6" fmla="*/ 1199493 h 1214437"/>
                <a:gd name="connsiteX7" fmla="*/ 1214976 w 1505727"/>
                <a:gd name="connsiteY7" fmla="*/ 1214437 h 1214437"/>
                <a:gd name="connsiteX8" fmla="*/ 290751 w 1505727"/>
                <a:gd name="connsiteY8" fmla="*/ 1214437 h 1214437"/>
                <a:gd name="connsiteX9" fmla="*/ 275026 w 1505727"/>
                <a:gd name="connsiteY9" fmla="*/ 1199493 h 1214437"/>
                <a:gd name="connsiteX10" fmla="*/ 275026 w 1505727"/>
                <a:gd name="connsiteY10" fmla="*/ 1141850 h 1214437"/>
                <a:gd name="connsiteX11" fmla="*/ 290751 w 1505727"/>
                <a:gd name="connsiteY11" fmla="*/ 1126194 h 1214437"/>
                <a:gd name="connsiteX12" fmla="*/ 335783 w 1505727"/>
                <a:gd name="connsiteY12" fmla="*/ 1126194 h 1214437"/>
                <a:gd name="connsiteX13" fmla="*/ 335783 w 1505727"/>
                <a:gd name="connsiteY13" fmla="*/ 1105557 h 1214437"/>
                <a:gd name="connsiteX14" fmla="*/ 350794 w 1505727"/>
                <a:gd name="connsiteY14" fmla="*/ 1090612 h 1214437"/>
                <a:gd name="connsiteX15" fmla="*/ 674282 w 1505727"/>
                <a:gd name="connsiteY15" fmla="*/ 736600 h 1214437"/>
                <a:gd name="connsiteX16" fmla="*/ 831444 w 1505727"/>
                <a:gd name="connsiteY16" fmla="*/ 736600 h 1214437"/>
                <a:gd name="connsiteX17" fmla="*/ 838588 w 1505727"/>
                <a:gd name="connsiteY17" fmla="*/ 743723 h 1214437"/>
                <a:gd name="connsiteX18" fmla="*/ 838588 w 1505727"/>
                <a:gd name="connsiteY18" fmla="*/ 1048566 h 1214437"/>
                <a:gd name="connsiteX19" fmla="*/ 831444 w 1505727"/>
                <a:gd name="connsiteY19" fmla="*/ 1055688 h 1214437"/>
                <a:gd name="connsiteX20" fmla="*/ 674282 w 1505727"/>
                <a:gd name="connsiteY20" fmla="*/ 1055688 h 1214437"/>
                <a:gd name="connsiteX21" fmla="*/ 667138 w 1505727"/>
                <a:gd name="connsiteY21" fmla="*/ 1048566 h 1214437"/>
                <a:gd name="connsiteX22" fmla="*/ 667138 w 1505727"/>
                <a:gd name="connsiteY22" fmla="*/ 743723 h 1214437"/>
                <a:gd name="connsiteX23" fmla="*/ 674282 w 1505727"/>
                <a:gd name="connsiteY23" fmla="*/ 736600 h 1214437"/>
                <a:gd name="connsiteX24" fmla="*/ 1306142 w 1505727"/>
                <a:gd name="connsiteY24" fmla="*/ 730250 h 1214437"/>
                <a:gd name="connsiteX25" fmla="*/ 1374335 w 1505727"/>
                <a:gd name="connsiteY25" fmla="*/ 730250 h 1214437"/>
                <a:gd name="connsiteX26" fmla="*/ 1381513 w 1505727"/>
                <a:gd name="connsiteY26" fmla="*/ 737428 h 1214437"/>
                <a:gd name="connsiteX27" fmla="*/ 1381513 w 1505727"/>
                <a:gd name="connsiteY27" fmla="*/ 805622 h 1214437"/>
                <a:gd name="connsiteX28" fmla="*/ 1374335 w 1505727"/>
                <a:gd name="connsiteY28" fmla="*/ 812800 h 1214437"/>
                <a:gd name="connsiteX29" fmla="*/ 1306142 w 1505727"/>
                <a:gd name="connsiteY29" fmla="*/ 812800 h 1214437"/>
                <a:gd name="connsiteX30" fmla="*/ 1298963 w 1505727"/>
                <a:gd name="connsiteY30" fmla="*/ 805622 h 1214437"/>
                <a:gd name="connsiteX31" fmla="*/ 1298963 w 1505727"/>
                <a:gd name="connsiteY31" fmla="*/ 737428 h 1214437"/>
                <a:gd name="connsiteX32" fmla="*/ 1306142 w 1505727"/>
                <a:gd name="connsiteY32" fmla="*/ 730250 h 1214437"/>
                <a:gd name="connsiteX33" fmla="*/ 1188529 w 1505727"/>
                <a:gd name="connsiteY33" fmla="*/ 730250 h 1214437"/>
                <a:gd name="connsiteX34" fmla="*/ 1255411 w 1505727"/>
                <a:gd name="connsiteY34" fmla="*/ 730250 h 1214437"/>
                <a:gd name="connsiteX35" fmla="*/ 1262451 w 1505727"/>
                <a:gd name="connsiteY35" fmla="*/ 737428 h 1214437"/>
                <a:gd name="connsiteX36" fmla="*/ 1262451 w 1505727"/>
                <a:gd name="connsiteY36" fmla="*/ 805622 h 1214437"/>
                <a:gd name="connsiteX37" fmla="*/ 1255411 w 1505727"/>
                <a:gd name="connsiteY37" fmla="*/ 812800 h 1214437"/>
                <a:gd name="connsiteX38" fmla="*/ 1188529 w 1505727"/>
                <a:gd name="connsiteY38" fmla="*/ 812800 h 1214437"/>
                <a:gd name="connsiteX39" fmla="*/ 1181488 w 1505727"/>
                <a:gd name="connsiteY39" fmla="*/ 805622 h 1214437"/>
                <a:gd name="connsiteX40" fmla="*/ 1181488 w 1505727"/>
                <a:gd name="connsiteY40" fmla="*/ 737428 h 1214437"/>
                <a:gd name="connsiteX41" fmla="*/ 1188529 w 1505727"/>
                <a:gd name="connsiteY41" fmla="*/ 730250 h 1214437"/>
                <a:gd name="connsiteX42" fmla="*/ 248866 w 1505727"/>
                <a:gd name="connsiteY42" fmla="*/ 730250 h 1214437"/>
                <a:gd name="connsiteX43" fmla="*/ 317059 w 1505727"/>
                <a:gd name="connsiteY43" fmla="*/ 730250 h 1214437"/>
                <a:gd name="connsiteX44" fmla="*/ 324238 w 1505727"/>
                <a:gd name="connsiteY44" fmla="*/ 737428 h 1214437"/>
                <a:gd name="connsiteX45" fmla="*/ 324238 w 1505727"/>
                <a:gd name="connsiteY45" fmla="*/ 805622 h 1214437"/>
                <a:gd name="connsiteX46" fmla="*/ 317059 w 1505727"/>
                <a:gd name="connsiteY46" fmla="*/ 812800 h 1214437"/>
                <a:gd name="connsiteX47" fmla="*/ 248866 w 1505727"/>
                <a:gd name="connsiteY47" fmla="*/ 812800 h 1214437"/>
                <a:gd name="connsiteX48" fmla="*/ 241688 w 1505727"/>
                <a:gd name="connsiteY48" fmla="*/ 805622 h 1214437"/>
                <a:gd name="connsiteX49" fmla="*/ 241688 w 1505727"/>
                <a:gd name="connsiteY49" fmla="*/ 737428 h 1214437"/>
                <a:gd name="connsiteX50" fmla="*/ 248866 w 1505727"/>
                <a:gd name="connsiteY50" fmla="*/ 730250 h 1214437"/>
                <a:gd name="connsiteX51" fmla="*/ 131253 w 1505727"/>
                <a:gd name="connsiteY51" fmla="*/ 730250 h 1214437"/>
                <a:gd name="connsiteX52" fmla="*/ 198135 w 1505727"/>
                <a:gd name="connsiteY52" fmla="*/ 730250 h 1214437"/>
                <a:gd name="connsiteX53" fmla="*/ 205176 w 1505727"/>
                <a:gd name="connsiteY53" fmla="*/ 737428 h 1214437"/>
                <a:gd name="connsiteX54" fmla="*/ 205176 w 1505727"/>
                <a:gd name="connsiteY54" fmla="*/ 805622 h 1214437"/>
                <a:gd name="connsiteX55" fmla="*/ 198135 w 1505727"/>
                <a:gd name="connsiteY55" fmla="*/ 812800 h 1214437"/>
                <a:gd name="connsiteX56" fmla="*/ 131253 w 1505727"/>
                <a:gd name="connsiteY56" fmla="*/ 812800 h 1214437"/>
                <a:gd name="connsiteX57" fmla="*/ 124213 w 1505727"/>
                <a:gd name="connsiteY57" fmla="*/ 805622 h 1214437"/>
                <a:gd name="connsiteX58" fmla="*/ 124213 w 1505727"/>
                <a:gd name="connsiteY58" fmla="*/ 737428 h 1214437"/>
                <a:gd name="connsiteX59" fmla="*/ 131253 w 1505727"/>
                <a:gd name="connsiteY59" fmla="*/ 730250 h 1214437"/>
                <a:gd name="connsiteX60" fmla="*/ 983051 w 1505727"/>
                <a:gd name="connsiteY60" fmla="*/ 638175 h 1214437"/>
                <a:gd name="connsiteX61" fmla="*/ 1049726 w 1505727"/>
                <a:gd name="connsiteY61" fmla="*/ 703683 h 1214437"/>
                <a:gd name="connsiteX62" fmla="*/ 1049726 w 1505727"/>
                <a:gd name="connsiteY62" fmla="*/ 928688 h 1214437"/>
                <a:gd name="connsiteX63" fmla="*/ 916376 w 1505727"/>
                <a:gd name="connsiteY63" fmla="*/ 928688 h 1214437"/>
                <a:gd name="connsiteX64" fmla="*/ 916376 w 1505727"/>
                <a:gd name="connsiteY64" fmla="*/ 703683 h 1214437"/>
                <a:gd name="connsiteX65" fmla="*/ 983051 w 1505727"/>
                <a:gd name="connsiteY65" fmla="*/ 638175 h 1214437"/>
                <a:gd name="connsiteX66" fmla="*/ 522676 w 1505727"/>
                <a:gd name="connsiteY66" fmla="*/ 638175 h 1214437"/>
                <a:gd name="connsiteX67" fmla="*/ 589351 w 1505727"/>
                <a:gd name="connsiteY67" fmla="*/ 703683 h 1214437"/>
                <a:gd name="connsiteX68" fmla="*/ 589351 w 1505727"/>
                <a:gd name="connsiteY68" fmla="*/ 928688 h 1214437"/>
                <a:gd name="connsiteX69" fmla="*/ 456001 w 1505727"/>
                <a:gd name="connsiteY69" fmla="*/ 928688 h 1214437"/>
                <a:gd name="connsiteX70" fmla="*/ 456001 w 1505727"/>
                <a:gd name="connsiteY70" fmla="*/ 703683 h 1214437"/>
                <a:gd name="connsiteX71" fmla="*/ 522676 w 1505727"/>
                <a:gd name="connsiteY71" fmla="*/ 638175 h 1214437"/>
                <a:gd name="connsiteX72" fmla="*/ 1306142 w 1505727"/>
                <a:gd name="connsiteY72" fmla="*/ 614362 h 1214437"/>
                <a:gd name="connsiteX73" fmla="*/ 1374335 w 1505727"/>
                <a:gd name="connsiteY73" fmla="*/ 614362 h 1214437"/>
                <a:gd name="connsiteX74" fmla="*/ 1381513 w 1505727"/>
                <a:gd name="connsiteY74" fmla="*/ 621540 h 1214437"/>
                <a:gd name="connsiteX75" fmla="*/ 1381513 w 1505727"/>
                <a:gd name="connsiteY75" fmla="*/ 689734 h 1214437"/>
                <a:gd name="connsiteX76" fmla="*/ 1374335 w 1505727"/>
                <a:gd name="connsiteY76" fmla="*/ 696912 h 1214437"/>
                <a:gd name="connsiteX77" fmla="*/ 1306142 w 1505727"/>
                <a:gd name="connsiteY77" fmla="*/ 696912 h 1214437"/>
                <a:gd name="connsiteX78" fmla="*/ 1298963 w 1505727"/>
                <a:gd name="connsiteY78" fmla="*/ 689734 h 1214437"/>
                <a:gd name="connsiteX79" fmla="*/ 1298963 w 1505727"/>
                <a:gd name="connsiteY79" fmla="*/ 621540 h 1214437"/>
                <a:gd name="connsiteX80" fmla="*/ 1306142 w 1505727"/>
                <a:gd name="connsiteY80" fmla="*/ 614362 h 1214437"/>
                <a:gd name="connsiteX81" fmla="*/ 1188529 w 1505727"/>
                <a:gd name="connsiteY81" fmla="*/ 614362 h 1214437"/>
                <a:gd name="connsiteX82" fmla="*/ 1255411 w 1505727"/>
                <a:gd name="connsiteY82" fmla="*/ 614362 h 1214437"/>
                <a:gd name="connsiteX83" fmla="*/ 1262451 w 1505727"/>
                <a:gd name="connsiteY83" fmla="*/ 621540 h 1214437"/>
                <a:gd name="connsiteX84" fmla="*/ 1262451 w 1505727"/>
                <a:gd name="connsiteY84" fmla="*/ 689734 h 1214437"/>
                <a:gd name="connsiteX85" fmla="*/ 1255411 w 1505727"/>
                <a:gd name="connsiteY85" fmla="*/ 696912 h 1214437"/>
                <a:gd name="connsiteX86" fmla="*/ 1188529 w 1505727"/>
                <a:gd name="connsiteY86" fmla="*/ 696912 h 1214437"/>
                <a:gd name="connsiteX87" fmla="*/ 1181488 w 1505727"/>
                <a:gd name="connsiteY87" fmla="*/ 689734 h 1214437"/>
                <a:gd name="connsiteX88" fmla="*/ 1181488 w 1505727"/>
                <a:gd name="connsiteY88" fmla="*/ 621540 h 1214437"/>
                <a:gd name="connsiteX89" fmla="*/ 1188529 w 1505727"/>
                <a:gd name="connsiteY89" fmla="*/ 614362 h 1214437"/>
                <a:gd name="connsiteX90" fmla="*/ 248866 w 1505727"/>
                <a:gd name="connsiteY90" fmla="*/ 614362 h 1214437"/>
                <a:gd name="connsiteX91" fmla="*/ 317059 w 1505727"/>
                <a:gd name="connsiteY91" fmla="*/ 614362 h 1214437"/>
                <a:gd name="connsiteX92" fmla="*/ 324238 w 1505727"/>
                <a:gd name="connsiteY92" fmla="*/ 621540 h 1214437"/>
                <a:gd name="connsiteX93" fmla="*/ 324238 w 1505727"/>
                <a:gd name="connsiteY93" fmla="*/ 689734 h 1214437"/>
                <a:gd name="connsiteX94" fmla="*/ 317059 w 1505727"/>
                <a:gd name="connsiteY94" fmla="*/ 696912 h 1214437"/>
                <a:gd name="connsiteX95" fmla="*/ 248866 w 1505727"/>
                <a:gd name="connsiteY95" fmla="*/ 696912 h 1214437"/>
                <a:gd name="connsiteX96" fmla="*/ 241688 w 1505727"/>
                <a:gd name="connsiteY96" fmla="*/ 689734 h 1214437"/>
                <a:gd name="connsiteX97" fmla="*/ 241688 w 1505727"/>
                <a:gd name="connsiteY97" fmla="*/ 621540 h 1214437"/>
                <a:gd name="connsiteX98" fmla="*/ 248866 w 1505727"/>
                <a:gd name="connsiteY98" fmla="*/ 614362 h 1214437"/>
                <a:gd name="connsiteX99" fmla="*/ 131253 w 1505727"/>
                <a:gd name="connsiteY99" fmla="*/ 614362 h 1214437"/>
                <a:gd name="connsiteX100" fmla="*/ 198135 w 1505727"/>
                <a:gd name="connsiteY100" fmla="*/ 614362 h 1214437"/>
                <a:gd name="connsiteX101" fmla="*/ 205176 w 1505727"/>
                <a:gd name="connsiteY101" fmla="*/ 621540 h 1214437"/>
                <a:gd name="connsiteX102" fmla="*/ 205176 w 1505727"/>
                <a:gd name="connsiteY102" fmla="*/ 689734 h 1214437"/>
                <a:gd name="connsiteX103" fmla="*/ 198135 w 1505727"/>
                <a:gd name="connsiteY103" fmla="*/ 696912 h 1214437"/>
                <a:gd name="connsiteX104" fmla="*/ 131253 w 1505727"/>
                <a:gd name="connsiteY104" fmla="*/ 696912 h 1214437"/>
                <a:gd name="connsiteX105" fmla="*/ 124213 w 1505727"/>
                <a:gd name="connsiteY105" fmla="*/ 689734 h 1214437"/>
                <a:gd name="connsiteX106" fmla="*/ 124213 w 1505727"/>
                <a:gd name="connsiteY106" fmla="*/ 621540 h 1214437"/>
                <a:gd name="connsiteX107" fmla="*/ 131253 w 1505727"/>
                <a:gd name="connsiteY107" fmla="*/ 614362 h 1214437"/>
                <a:gd name="connsiteX108" fmla="*/ 1434315 w 1505727"/>
                <a:gd name="connsiteY108" fmla="*/ 561975 h 1214437"/>
                <a:gd name="connsiteX109" fmla="*/ 1465651 w 1505727"/>
                <a:gd name="connsiteY109" fmla="*/ 561975 h 1214437"/>
                <a:gd name="connsiteX110" fmla="*/ 1465651 w 1505727"/>
                <a:gd name="connsiteY110" fmla="*/ 951081 h 1214437"/>
                <a:gd name="connsiteX111" fmla="*/ 1449983 w 1505727"/>
                <a:gd name="connsiteY111" fmla="*/ 966788 h 1214437"/>
                <a:gd name="connsiteX112" fmla="*/ 1181488 w 1505727"/>
                <a:gd name="connsiteY112" fmla="*/ 966788 h 1214437"/>
                <a:gd name="connsiteX113" fmla="*/ 1181488 w 1505727"/>
                <a:gd name="connsiteY113" fmla="*/ 935374 h 1214437"/>
                <a:gd name="connsiteX114" fmla="*/ 1434315 w 1505727"/>
                <a:gd name="connsiteY114" fmla="*/ 935374 h 1214437"/>
                <a:gd name="connsiteX115" fmla="*/ 1434315 w 1505727"/>
                <a:gd name="connsiteY115" fmla="*/ 561975 h 1214437"/>
                <a:gd name="connsiteX116" fmla="*/ 40076 w 1505727"/>
                <a:gd name="connsiteY116" fmla="*/ 561975 h 1214437"/>
                <a:gd name="connsiteX117" fmla="*/ 71491 w 1505727"/>
                <a:gd name="connsiteY117" fmla="*/ 561975 h 1214437"/>
                <a:gd name="connsiteX118" fmla="*/ 71491 w 1505727"/>
                <a:gd name="connsiteY118" fmla="*/ 935374 h 1214437"/>
                <a:gd name="connsiteX119" fmla="*/ 324239 w 1505727"/>
                <a:gd name="connsiteY119" fmla="*/ 935374 h 1214437"/>
                <a:gd name="connsiteX120" fmla="*/ 324239 w 1505727"/>
                <a:gd name="connsiteY120" fmla="*/ 966788 h 1214437"/>
                <a:gd name="connsiteX121" fmla="*/ 55783 w 1505727"/>
                <a:gd name="connsiteY121" fmla="*/ 966788 h 1214437"/>
                <a:gd name="connsiteX122" fmla="*/ 40076 w 1505727"/>
                <a:gd name="connsiteY122" fmla="*/ 951081 h 1214437"/>
                <a:gd name="connsiteX123" fmla="*/ 40076 w 1505727"/>
                <a:gd name="connsiteY123" fmla="*/ 561975 h 1214437"/>
                <a:gd name="connsiteX124" fmla="*/ 750274 w 1505727"/>
                <a:gd name="connsiteY124" fmla="*/ 474662 h 1214437"/>
                <a:gd name="connsiteX125" fmla="*/ 741751 w 1505727"/>
                <a:gd name="connsiteY125" fmla="*/ 483301 h 1214437"/>
                <a:gd name="connsiteX126" fmla="*/ 741751 w 1505727"/>
                <a:gd name="connsiteY126" fmla="*/ 527936 h 1214437"/>
                <a:gd name="connsiteX127" fmla="*/ 750274 w 1505727"/>
                <a:gd name="connsiteY127" fmla="*/ 536575 h 1214437"/>
                <a:gd name="connsiteX128" fmla="*/ 787204 w 1505727"/>
                <a:gd name="connsiteY128" fmla="*/ 536575 h 1214437"/>
                <a:gd name="connsiteX129" fmla="*/ 795726 w 1505727"/>
                <a:gd name="connsiteY129" fmla="*/ 527936 h 1214437"/>
                <a:gd name="connsiteX130" fmla="*/ 787204 w 1505727"/>
                <a:gd name="connsiteY130" fmla="*/ 519297 h 1214437"/>
                <a:gd name="connsiteX131" fmla="*/ 758796 w 1505727"/>
                <a:gd name="connsiteY131" fmla="*/ 519297 h 1214437"/>
                <a:gd name="connsiteX132" fmla="*/ 758796 w 1505727"/>
                <a:gd name="connsiteY132" fmla="*/ 483301 h 1214437"/>
                <a:gd name="connsiteX133" fmla="*/ 750274 w 1505727"/>
                <a:gd name="connsiteY133" fmla="*/ 474662 h 1214437"/>
                <a:gd name="connsiteX134" fmla="*/ 752863 w 1505727"/>
                <a:gd name="connsiteY134" fmla="*/ 455612 h 1214437"/>
                <a:gd name="connsiteX135" fmla="*/ 822713 w 1505727"/>
                <a:gd name="connsiteY135" fmla="*/ 525462 h 1214437"/>
                <a:gd name="connsiteX136" fmla="*/ 752863 w 1505727"/>
                <a:gd name="connsiteY136" fmla="*/ 595312 h 1214437"/>
                <a:gd name="connsiteX137" fmla="*/ 683013 w 1505727"/>
                <a:gd name="connsiteY137" fmla="*/ 525462 h 1214437"/>
                <a:gd name="connsiteX138" fmla="*/ 752863 w 1505727"/>
                <a:gd name="connsiteY138" fmla="*/ 455612 h 1214437"/>
                <a:gd name="connsiteX139" fmla="*/ 935426 w 1505727"/>
                <a:gd name="connsiteY139" fmla="*/ 344487 h 1214437"/>
                <a:gd name="connsiteX140" fmla="*/ 1273900 w 1505727"/>
                <a:gd name="connsiteY140" fmla="*/ 344487 h 1214437"/>
                <a:gd name="connsiteX141" fmla="*/ 1498836 w 1505727"/>
                <a:gd name="connsiteY141" fmla="*/ 507798 h 1214437"/>
                <a:gd name="connsiteX142" fmla="*/ 1490267 w 1505727"/>
                <a:gd name="connsiteY142" fmla="*/ 536575 h 1214437"/>
                <a:gd name="connsiteX143" fmla="*/ 1178928 w 1505727"/>
                <a:gd name="connsiteY143" fmla="*/ 536575 h 1214437"/>
                <a:gd name="connsiteX144" fmla="*/ 1174643 w 1505727"/>
                <a:gd name="connsiteY144" fmla="*/ 532259 h 1214437"/>
                <a:gd name="connsiteX145" fmla="*/ 935426 w 1505727"/>
                <a:gd name="connsiteY145" fmla="*/ 344487 h 1214437"/>
                <a:gd name="connsiteX146" fmla="*/ 231112 w 1505727"/>
                <a:gd name="connsiteY146" fmla="*/ 344487 h 1214437"/>
                <a:gd name="connsiteX147" fmla="*/ 570301 w 1505727"/>
                <a:gd name="connsiteY147" fmla="*/ 344487 h 1214437"/>
                <a:gd name="connsiteX148" fmla="*/ 330370 w 1505727"/>
                <a:gd name="connsiteY148" fmla="*/ 532259 h 1214437"/>
                <a:gd name="connsiteX149" fmla="*/ 326085 w 1505727"/>
                <a:gd name="connsiteY149" fmla="*/ 536575 h 1214437"/>
                <a:gd name="connsiteX150" fmla="*/ 15460 w 1505727"/>
                <a:gd name="connsiteY150" fmla="*/ 536575 h 1214437"/>
                <a:gd name="connsiteX151" fmla="*/ 6891 w 1505727"/>
                <a:gd name="connsiteY151" fmla="*/ 507798 h 1214437"/>
                <a:gd name="connsiteX152" fmla="*/ 231112 w 1505727"/>
                <a:gd name="connsiteY152" fmla="*/ 344487 h 1214437"/>
                <a:gd name="connsiteX153" fmla="*/ 743933 w 1505727"/>
                <a:gd name="connsiteY153" fmla="*/ 250347 h 1214437"/>
                <a:gd name="connsiteX154" fmla="*/ 762508 w 1505727"/>
                <a:gd name="connsiteY154" fmla="*/ 250347 h 1214437"/>
                <a:gd name="connsiteX155" fmla="*/ 1143308 w 1505727"/>
                <a:gd name="connsiteY155" fmla="*/ 547411 h 1214437"/>
                <a:gd name="connsiteX156" fmla="*/ 1149738 w 1505727"/>
                <a:gd name="connsiteY156" fmla="*/ 559550 h 1214437"/>
                <a:gd name="connsiteX157" fmla="*/ 1149738 w 1505727"/>
                <a:gd name="connsiteY157" fmla="*/ 1057275 h 1214437"/>
                <a:gd name="connsiteX158" fmla="*/ 1118303 w 1505727"/>
                <a:gd name="connsiteY158" fmla="*/ 1057275 h 1214437"/>
                <a:gd name="connsiteX159" fmla="*/ 1118303 w 1505727"/>
                <a:gd name="connsiteY159" fmla="*/ 567405 h 1214437"/>
                <a:gd name="connsiteX160" fmla="*/ 753220 w 1505727"/>
                <a:gd name="connsiteY160" fmla="*/ 282481 h 1214437"/>
                <a:gd name="connsiteX161" fmla="*/ 387423 w 1505727"/>
                <a:gd name="connsiteY161" fmla="*/ 567405 h 1214437"/>
                <a:gd name="connsiteX162" fmla="*/ 387423 w 1505727"/>
                <a:gd name="connsiteY162" fmla="*/ 1057275 h 1214437"/>
                <a:gd name="connsiteX163" fmla="*/ 355988 w 1505727"/>
                <a:gd name="connsiteY163" fmla="*/ 1057275 h 1214437"/>
                <a:gd name="connsiteX164" fmla="*/ 355988 w 1505727"/>
                <a:gd name="connsiteY164" fmla="*/ 559550 h 1214437"/>
                <a:gd name="connsiteX165" fmla="*/ 362418 w 1505727"/>
                <a:gd name="connsiteY165" fmla="*/ 547411 h 1214437"/>
                <a:gd name="connsiteX166" fmla="*/ 743933 w 1505727"/>
                <a:gd name="connsiteY166" fmla="*/ 250347 h 1214437"/>
                <a:gd name="connsiteX167" fmla="*/ 738988 w 1505727"/>
                <a:gd name="connsiteY167" fmla="*/ 0 h 1214437"/>
                <a:gd name="connsiteX168" fmla="*/ 762664 w 1505727"/>
                <a:gd name="connsiteY168" fmla="*/ 0 h 1214437"/>
                <a:gd name="connsiteX169" fmla="*/ 953500 w 1505727"/>
                <a:gd name="connsiteY169" fmla="*/ 0 h 1214437"/>
                <a:gd name="connsiteX170" fmla="*/ 956370 w 1505727"/>
                <a:gd name="connsiteY170" fmla="*/ 7131 h 1214437"/>
                <a:gd name="connsiteX171" fmla="*/ 907584 w 1505727"/>
                <a:gd name="connsiteY171" fmla="*/ 55620 h 1214437"/>
                <a:gd name="connsiteX172" fmla="*/ 907584 w 1505727"/>
                <a:gd name="connsiteY172" fmla="*/ 61325 h 1214437"/>
                <a:gd name="connsiteX173" fmla="*/ 956370 w 1505727"/>
                <a:gd name="connsiteY173" fmla="*/ 109814 h 1214437"/>
                <a:gd name="connsiteX174" fmla="*/ 953500 w 1505727"/>
                <a:gd name="connsiteY174" fmla="*/ 116944 h 1214437"/>
                <a:gd name="connsiteX175" fmla="*/ 770555 w 1505727"/>
                <a:gd name="connsiteY175" fmla="*/ 116944 h 1214437"/>
                <a:gd name="connsiteX176" fmla="*/ 766968 w 1505727"/>
                <a:gd name="connsiteY176" fmla="*/ 120510 h 1214437"/>
                <a:gd name="connsiteX177" fmla="*/ 766968 w 1505727"/>
                <a:gd name="connsiteY177" fmla="*/ 214636 h 1214437"/>
                <a:gd name="connsiteX178" fmla="*/ 761946 w 1505727"/>
                <a:gd name="connsiteY178" fmla="*/ 211070 h 1214437"/>
                <a:gd name="connsiteX179" fmla="*/ 743293 w 1505727"/>
                <a:gd name="connsiteY179" fmla="*/ 211070 h 1214437"/>
                <a:gd name="connsiteX180" fmla="*/ 735401 w 1505727"/>
                <a:gd name="connsiteY180" fmla="*/ 217488 h 1214437"/>
                <a:gd name="connsiteX181" fmla="*/ 735401 w 1505727"/>
                <a:gd name="connsiteY181" fmla="*/ 116944 h 1214437"/>
                <a:gd name="connsiteX182" fmla="*/ 735401 w 1505727"/>
                <a:gd name="connsiteY182" fmla="*/ 4279 h 1214437"/>
                <a:gd name="connsiteX183" fmla="*/ 738988 w 1505727"/>
                <a:gd name="connsiteY183" fmla="*/ 0 h 1214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1505727" h="1214437">
                  <a:moveTo>
                    <a:pt x="350794" y="1090612"/>
                  </a:moveTo>
                  <a:cubicBezTo>
                    <a:pt x="1154933" y="1090612"/>
                    <a:pt x="1154933" y="1090612"/>
                    <a:pt x="1154933" y="1090612"/>
                  </a:cubicBezTo>
                  <a:cubicBezTo>
                    <a:pt x="1162796" y="1090612"/>
                    <a:pt x="1169944" y="1097017"/>
                    <a:pt x="1169944" y="1105557"/>
                  </a:cubicBezTo>
                  <a:cubicBezTo>
                    <a:pt x="1169944" y="1126194"/>
                    <a:pt x="1169944" y="1126194"/>
                    <a:pt x="1169944" y="1126194"/>
                  </a:cubicBezTo>
                  <a:cubicBezTo>
                    <a:pt x="1214976" y="1126194"/>
                    <a:pt x="1214976" y="1126194"/>
                    <a:pt x="1214976" y="1126194"/>
                  </a:cubicBezTo>
                  <a:cubicBezTo>
                    <a:pt x="1223553" y="1126194"/>
                    <a:pt x="1230701" y="1133310"/>
                    <a:pt x="1230701" y="1141850"/>
                  </a:cubicBezTo>
                  <a:cubicBezTo>
                    <a:pt x="1230701" y="1199493"/>
                    <a:pt x="1230701" y="1199493"/>
                    <a:pt x="1230701" y="1199493"/>
                  </a:cubicBezTo>
                  <a:cubicBezTo>
                    <a:pt x="1230701" y="1208032"/>
                    <a:pt x="1223553" y="1214437"/>
                    <a:pt x="1214976" y="1214437"/>
                  </a:cubicBezTo>
                  <a:cubicBezTo>
                    <a:pt x="290751" y="1214437"/>
                    <a:pt x="290751" y="1214437"/>
                    <a:pt x="290751" y="1214437"/>
                  </a:cubicBezTo>
                  <a:cubicBezTo>
                    <a:pt x="282174" y="1214437"/>
                    <a:pt x="275026" y="1208032"/>
                    <a:pt x="275026" y="1199493"/>
                  </a:cubicBezTo>
                  <a:cubicBezTo>
                    <a:pt x="275026" y="1141850"/>
                    <a:pt x="275026" y="1141850"/>
                    <a:pt x="275026" y="1141850"/>
                  </a:cubicBezTo>
                  <a:cubicBezTo>
                    <a:pt x="275026" y="1133310"/>
                    <a:pt x="282174" y="1126194"/>
                    <a:pt x="290751" y="1126194"/>
                  </a:cubicBezTo>
                  <a:cubicBezTo>
                    <a:pt x="335783" y="1126194"/>
                    <a:pt x="335783" y="1126194"/>
                    <a:pt x="335783" y="1126194"/>
                  </a:cubicBezTo>
                  <a:cubicBezTo>
                    <a:pt x="335783" y="1105557"/>
                    <a:pt x="335783" y="1105557"/>
                    <a:pt x="335783" y="1105557"/>
                  </a:cubicBezTo>
                  <a:cubicBezTo>
                    <a:pt x="335783" y="1097017"/>
                    <a:pt x="342931" y="1090612"/>
                    <a:pt x="350794" y="1090612"/>
                  </a:cubicBezTo>
                  <a:close/>
                  <a:moveTo>
                    <a:pt x="674282" y="736600"/>
                  </a:moveTo>
                  <a:cubicBezTo>
                    <a:pt x="831444" y="736600"/>
                    <a:pt x="831444" y="736600"/>
                    <a:pt x="831444" y="736600"/>
                  </a:cubicBezTo>
                  <a:cubicBezTo>
                    <a:pt x="835731" y="736600"/>
                    <a:pt x="838588" y="739449"/>
                    <a:pt x="838588" y="743723"/>
                  </a:cubicBezTo>
                  <a:cubicBezTo>
                    <a:pt x="838588" y="1048566"/>
                    <a:pt x="838588" y="1048566"/>
                    <a:pt x="838588" y="1048566"/>
                  </a:cubicBezTo>
                  <a:cubicBezTo>
                    <a:pt x="838588" y="1052839"/>
                    <a:pt x="835731" y="1055688"/>
                    <a:pt x="831444" y="1055688"/>
                  </a:cubicBezTo>
                  <a:cubicBezTo>
                    <a:pt x="674282" y="1055688"/>
                    <a:pt x="674282" y="1055688"/>
                    <a:pt x="674282" y="1055688"/>
                  </a:cubicBezTo>
                  <a:cubicBezTo>
                    <a:pt x="669995" y="1055688"/>
                    <a:pt x="667138" y="1052839"/>
                    <a:pt x="667138" y="1048566"/>
                  </a:cubicBezTo>
                  <a:cubicBezTo>
                    <a:pt x="667138" y="743723"/>
                    <a:pt x="667138" y="743723"/>
                    <a:pt x="667138" y="743723"/>
                  </a:cubicBezTo>
                  <a:cubicBezTo>
                    <a:pt x="667138" y="739449"/>
                    <a:pt x="669995" y="736600"/>
                    <a:pt x="674282" y="736600"/>
                  </a:cubicBezTo>
                  <a:close/>
                  <a:moveTo>
                    <a:pt x="1306142" y="730250"/>
                  </a:moveTo>
                  <a:cubicBezTo>
                    <a:pt x="1306142" y="730250"/>
                    <a:pt x="1306142" y="730250"/>
                    <a:pt x="1374335" y="730250"/>
                  </a:cubicBezTo>
                  <a:cubicBezTo>
                    <a:pt x="1378642" y="730250"/>
                    <a:pt x="1381513" y="733121"/>
                    <a:pt x="1381513" y="737428"/>
                  </a:cubicBezTo>
                  <a:cubicBezTo>
                    <a:pt x="1381513" y="737428"/>
                    <a:pt x="1381513" y="737428"/>
                    <a:pt x="1381513" y="805622"/>
                  </a:cubicBezTo>
                  <a:cubicBezTo>
                    <a:pt x="1381513" y="809929"/>
                    <a:pt x="1378642" y="812800"/>
                    <a:pt x="1374335" y="812800"/>
                  </a:cubicBezTo>
                  <a:cubicBezTo>
                    <a:pt x="1374335" y="812800"/>
                    <a:pt x="1374335" y="812800"/>
                    <a:pt x="1306142" y="812800"/>
                  </a:cubicBezTo>
                  <a:cubicBezTo>
                    <a:pt x="1302552" y="812800"/>
                    <a:pt x="1298963" y="809929"/>
                    <a:pt x="1298963" y="805622"/>
                  </a:cubicBezTo>
                  <a:cubicBezTo>
                    <a:pt x="1298963" y="805622"/>
                    <a:pt x="1298963" y="805622"/>
                    <a:pt x="1298963" y="737428"/>
                  </a:cubicBezTo>
                  <a:cubicBezTo>
                    <a:pt x="1298963" y="733121"/>
                    <a:pt x="1302552" y="730250"/>
                    <a:pt x="1306142" y="730250"/>
                  </a:cubicBezTo>
                  <a:close/>
                  <a:moveTo>
                    <a:pt x="1188529" y="730250"/>
                  </a:moveTo>
                  <a:cubicBezTo>
                    <a:pt x="1188529" y="730250"/>
                    <a:pt x="1188529" y="730250"/>
                    <a:pt x="1255411" y="730250"/>
                  </a:cubicBezTo>
                  <a:cubicBezTo>
                    <a:pt x="1259635" y="730250"/>
                    <a:pt x="1262451" y="733121"/>
                    <a:pt x="1262451" y="737428"/>
                  </a:cubicBezTo>
                  <a:cubicBezTo>
                    <a:pt x="1262451" y="737428"/>
                    <a:pt x="1262451" y="737428"/>
                    <a:pt x="1262451" y="805622"/>
                  </a:cubicBezTo>
                  <a:cubicBezTo>
                    <a:pt x="1262451" y="809929"/>
                    <a:pt x="1259635" y="812800"/>
                    <a:pt x="1255411" y="812800"/>
                  </a:cubicBezTo>
                  <a:cubicBezTo>
                    <a:pt x="1255411" y="812800"/>
                    <a:pt x="1255411" y="812800"/>
                    <a:pt x="1188529" y="812800"/>
                  </a:cubicBezTo>
                  <a:cubicBezTo>
                    <a:pt x="1184304" y="812800"/>
                    <a:pt x="1181488" y="809929"/>
                    <a:pt x="1181488" y="805622"/>
                  </a:cubicBezTo>
                  <a:cubicBezTo>
                    <a:pt x="1181488" y="805622"/>
                    <a:pt x="1181488" y="805622"/>
                    <a:pt x="1181488" y="737428"/>
                  </a:cubicBezTo>
                  <a:cubicBezTo>
                    <a:pt x="1181488" y="733121"/>
                    <a:pt x="1184304" y="730250"/>
                    <a:pt x="1188529" y="730250"/>
                  </a:cubicBezTo>
                  <a:close/>
                  <a:moveTo>
                    <a:pt x="248866" y="730250"/>
                  </a:moveTo>
                  <a:cubicBezTo>
                    <a:pt x="248866" y="730250"/>
                    <a:pt x="248866" y="730250"/>
                    <a:pt x="317059" y="730250"/>
                  </a:cubicBezTo>
                  <a:cubicBezTo>
                    <a:pt x="321366" y="730250"/>
                    <a:pt x="324238" y="733121"/>
                    <a:pt x="324238" y="737428"/>
                  </a:cubicBezTo>
                  <a:cubicBezTo>
                    <a:pt x="324238" y="737428"/>
                    <a:pt x="324238" y="737428"/>
                    <a:pt x="324238" y="805622"/>
                  </a:cubicBezTo>
                  <a:cubicBezTo>
                    <a:pt x="324238" y="809929"/>
                    <a:pt x="321366" y="812800"/>
                    <a:pt x="317059" y="812800"/>
                  </a:cubicBezTo>
                  <a:cubicBezTo>
                    <a:pt x="317059" y="812800"/>
                    <a:pt x="317059" y="812800"/>
                    <a:pt x="248866" y="812800"/>
                  </a:cubicBezTo>
                  <a:cubicBezTo>
                    <a:pt x="244559" y="812800"/>
                    <a:pt x="241688" y="809929"/>
                    <a:pt x="241688" y="805622"/>
                  </a:cubicBezTo>
                  <a:cubicBezTo>
                    <a:pt x="241688" y="805622"/>
                    <a:pt x="241688" y="805622"/>
                    <a:pt x="241688" y="737428"/>
                  </a:cubicBezTo>
                  <a:cubicBezTo>
                    <a:pt x="241688" y="733121"/>
                    <a:pt x="244559" y="730250"/>
                    <a:pt x="248866" y="730250"/>
                  </a:cubicBezTo>
                  <a:close/>
                  <a:moveTo>
                    <a:pt x="131253" y="730250"/>
                  </a:moveTo>
                  <a:cubicBezTo>
                    <a:pt x="131253" y="730250"/>
                    <a:pt x="131253" y="730250"/>
                    <a:pt x="198135" y="730250"/>
                  </a:cubicBezTo>
                  <a:cubicBezTo>
                    <a:pt x="201656" y="730250"/>
                    <a:pt x="205176" y="733121"/>
                    <a:pt x="205176" y="737428"/>
                  </a:cubicBezTo>
                  <a:cubicBezTo>
                    <a:pt x="205176" y="737428"/>
                    <a:pt x="205176" y="737428"/>
                    <a:pt x="205176" y="805622"/>
                  </a:cubicBezTo>
                  <a:cubicBezTo>
                    <a:pt x="205176" y="809929"/>
                    <a:pt x="201656" y="812800"/>
                    <a:pt x="198135" y="812800"/>
                  </a:cubicBezTo>
                  <a:cubicBezTo>
                    <a:pt x="198135" y="812800"/>
                    <a:pt x="198135" y="812800"/>
                    <a:pt x="131253" y="812800"/>
                  </a:cubicBezTo>
                  <a:cubicBezTo>
                    <a:pt x="127029" y="812800"/>
                    <a:pt x="124213" y="809929"/>
                    <a:pt x="124213" y="805622"/>
                  </a:cubicBezTo>
                  <a:cubicBezTo>
                    <a:pt x="124213" y="805622"/>
                    <a:pt x="124213" y="805622"/>
                    <a:pt x="124213" y="737428"/>
                  </a:cubicBezTo>
                  <a:cubicBezTo>
                    <a:pt x="124213" y="733121"/>
                    <a:pt x="127029" y="730250"/>
                    <a:pt x="131253" y="730250"/>
                  </a:cubicBezTo>
                  <a:close/>
                  <a:moveTo>
                    <a:pt x="983051" y="638175"/>
                  </a:moveTo>
                  <a:cubicBezTo>
                    <a:pt x="1019615" y="638175"/>
                    <a:pt x="1049726" y="667369"/>
                    <a:pt x="1049726" y="703683"/>
                  </a:cubicBezTo>
                  <a:cubicBezTo>
                    <a:pt x="1049726" y="703683"/>
                    <a:pt x="1049726" y="703683"/>
                    <a:pt x="1049726" y="928688"/>
                  </a:cubicBezTo>
                  <a:cubicBezTo>
                    <a:pt x="1049726" y="928688"/>
                    <a:pt x="1049726" y="928688"/>
                    <a:pt x="916376" y="928688"/>
                  </a:cubicBezTo>
                  <a:cubicBezTo>
                    <a:pt x="916376" y="928688"/>
                    <a:pt x="916376" y="928688"/>
                    <a:pt x="916376" y="703683"/>
                  </a:cubicBezTo>
                  <a:cubicBezTo>
                    <a:pt x="916376" y="667369"/>
                    <a:pt x="946488" y="638175"/>
                    <a:pt x="983051" y="638175"/>
                  </a:cubicBezTo>
                  <a:close/>
                  <a:moveTo>
                    <a:pt x="522676" y="638175"/>
                  </a:moveTo>
                  <a:cubicBezTo>
                    <a:pt x="559239" y="638175"/>
                    <a:pt x="589351" y="667369"/>
                    <a:pt x="589351" y="703683"/>
                  </a:cubicBezTo>
                  <a:cubicBezTo>
                    <a:pt x="589351" y="703683"/>
                    <a:pt x="589351" y="703683"/>
                    <a:pt x="589351" y="928688"/>
                  </a:cubicBezTo>
                  <a:cubicBezTo>
                    <a:pt x="589351" y="928688"/>
                    <a:pt x="589351" y="928688"/>
                    <a:pt x="456001" y="928688"/>
                  </a:cubicBezTo>
                  <a:cubicBezTo>
                    <a:pt x="456001" y="928688"/>
                    <a:pt x="456001" y="928688"/>
                    <a:pt x="456001" y="703683"/>
                  </a:cubicBezTo>
                  <a:cubicBezTo>
                    <a:pt x="456001" y="667369"/>
                    <a:pt x="486112" y="638175"/>
                    <a:pt x="522676" y="638175"/>
                  </a:cubicBezTo>
                  <a:close/>
                  <a:moveTo>
                    <a:pt x="1306142" y="614362"/>
                  </a:moveTo>
                  <a:cubicBezTo>
                    <a:pt x="1306142" y="614362"/>
                    <a:pt x="1306142" y="614362"/>
                    <a:pt x="1374335" y="614362"/>
                  </a:cubicBezTo>
                  <a:cubicBezTo>
                    <a:pt x="1378642" y="614362"/>
                    <a:pt x="1381513" y="617233"/>
                    <a:pt x="1381513" y="621540"/>
                  </a:cubicBezTo>
                  <a:cubicBezTo>
                    <a:pt x="1381513" y="621540"/>
                    <a:pt x="1381513" y="621540"/>
                    <a:pt x="1381513" y="689734"/>
                  </a:cubicBezTo>
                  <a:cubicBezTo>
                    <a:pt x="1381513" y="694041"/>
                    <a:pt x="1378642" y="696912"/>
                    <a:pt x="1374335" y="696912"/>
                  </a:cubicBezTo>
                  <a:cubicBezTo>
                    <a:pt x="1374335" y="696912"/>
                    <a:pt x="1374335" y="696912"/>
                    <a:pt x="1306142" y="696912"/>
                  </a:cubicBezTo>
                  <a:cubicBezTo>
                    <a:pt x="1302552" y="696912"/>
                    <a:pt x="1298963" y="694041"/>
                    <a:pt x="1298963" y="689734"/>
                  </a:cubicBezTo>
                  <a:cubicBezTo>
                    <a:pt x="1298963" y="689734"/>
                    <a:pt x="1298963" y="689734"/>
                    <a:pt x="1298963" y="621540"/>
                  </a:cubicBezTo>
                  <a:cubicBezTo>
                    <a:pt x="1298963" y="617233"/>
                    <a:pt x="1302552" y="614362"/>
                    <a:pt x="1306142" y="614362"/>
                  </a:cubicBezTo>
                  <a:close/>
                  <a:moveTo>
                    <a:pt x="1188529" y="614362"/>
                  </a:moveTo>
                  <a:cubicBezTo>
                    <a:pt x="1188529" y="614362"/>
                    <a:pt x="1188529" y="614362"/>
                    <a:pt x="1255411" y="614362"/>
                  </a:cubicBezTo>
                  <a:cubicBezTo>
                    <a:pt x="1259635" y="614362"/>
                    <a:pt x="1262451" y="617233"/>
                    <a:pt x="1262451" y="621540"/>
                  </a:cubicBezTo>
                  <a:cubicBezTo>
                    <a:pt x="1262451" y="621540"/>
                    <a:pt x="1262451" y="621540"/>
                    <a:pt x="1262451" y="689734"/>
                  </a:cubicBezTo>
                  <a:cubicBezTo>
                    <a:pt x="1262451" y="694041"/>
                    <a:pt x="1259635" y="696912"/>
                    <a:pt x="1255411" y="696912"/>
                  </a:cubicBezTo>
                  <a:cubicBezTo>
                    <a:pt x="1255411" y="696912"/>
                    <a:pt x="1255411" y="696912"/>
                    <a:pt x="1188529" y="696912"/>
                  </a:cubicBezTo>
                  <a:cubicBezTo>
                    <a:pt x="1184304" y="696912"/>
                    <a:pt x="1181488" y="694041"/>
                    <a:pt x="1181488" y="689734"/>
                  </a:cubicBezTo>
                  <a:cubicBezTo>
                    <a:pt x="1181488" y="689734"/>
                    <a:pt x="1181488" y="689734"/>
                    <a:pt x="1181488" y="621540"/>
                  </a:cubicBezTo>
                  <a:cubicBezTo>
                    <a:pt x="1181488" y="617233"/>
                    <a:pt x="1184304" y="614362"/>
                    <a:pt x="1188529" y="614362"/>
                  </a:cubicBezTo>
                  <a:close/>
                  <a:moveTo>
                    <a:pt x="248866" y="614362"/>
                  </a:moveTo>
                  <a:cubicBezTo>
                    <a:pt x="248866" y="614362"/>
                    <a:pt x="248866" y="614362"/>
                    <a:pt x="317059" y="614362"/>
                  </a:cubicBezTo>
                  <a:cubicBezTo>
                    <a:pt x="321366" y="614362"/>
                    <a:pt x="324238" y="617233"/>
                    <a:pt x="324238" y="621540"/>
                  </a:cubicBezTo>
                  <a:cubicBezTo>
                    <a:pt x="324238" y="621540"/>
                    <a:pt x="324238" y="621540"/>
                    <a:pt x="324238" y="689734"/>
                  </a:cubicBezTo>
                  <a:cubicBezTo>
                    <a:pt x="324238" y="694041"/>
                    <a:pt x="321366" y="696912"/>
                    <a:pt x="317059" y="696912"/>
                  </a:cubicBezTo>
                  <a:cubicBezTo>
                    <a:pt x="317059" y="696912"/>
                    <a:pt x="317059" y="696912"/>
                    <a:pt x="248866" y="696912"/>
                  </a:cubicBezTo>
                  <a:cubicBezTo>
                    <a:pt x="244559" y="696912"/>
                    <a:pt x="241688" y="694041"/>
                    <a:pt x="241688" y="689734"/>
                  </a:cubicBezTo>
                  <a:cubicBezTo>
                    <a:pt x="241688" y="689734"/>
                    <a:pt x="241688" y="689734"/>
                    <a:pt x="241688" y="621540"/>
                  </a:cubicBezTo>
                  <a:cubicBezTo>
                    <a:pt x="241688" y="617233"/>
                    <a:pt x="244559" y="614362"/>
                    <a:pt x="248866" y="614362"/>
                  </a:cubicBezTo>
                  <a:close/>
                  <a:moveTo>
                    <a:pt x="131253" y="614362"/>
                  </a:moveTo>
                  <a:cubicBezTo>
                    <a:pt x="131253" y="614362"/>
                    <a:pt x="131253" y="614362"/>
                    <a:pt x="198135" y="614362"/>
                  </a:cubicBezTo>
                  <a:cubicBezTo>
                    <a:pt x="201656" y="614362"/>
                    <a:pt x="205176" y="617233"/>
                    <a:pt x="205176" y="621540"/>
                  </a:cubicBezTo>
                  <a:cubicBezTo>
                    <a:pt x="205176" y="621540"/>
                    <a:pt x="205176" y="621540"/>
                    <a:pt x="205176" y="689734"/>
                  </a:cubicBezTo>
                  <a:cubicBezTo>
                    <a:pt x="205176" y="694041"/>
                    <a:pt x="201656" y="696912"/>
                    <a:pt x="198135" y="696912"/>
                  </a:cubicBezTo>
                  <a:cubicBezTo>
                    <a:pt x="198135" y="696912"/>
                    <a:pt x="198135" y="696912"/>
                    <a:pt x="131253" y="696912"/>
                  </a:cubicBezTo>
                  <a:cubicBezTo>
                    <a:pt x="127029" y="696912"/>
                    <a:pt x="124213" y="694041"/>
                    <a:pt x="124213" y="689734"/>
                  </a:cubicBezTo>
                  <a:cubicBezTo>
                    <a:pt x="124213" y="689734"/>
                    <a:pt x="124213" y="689734"/>
                    <a:pt x="124213" y="621540"/>
                  </a:cubicBezTo>
                  <a:cubicBezTo>
                    <a:pt x="124213" y="617233"/>
                    <a:pt x="127029" y="614362"/>
                    <a:pt x="131253" y="614362"/>
                  </a:cubicBezTo>
                  <a:close/>
                  <a:moveTo>
                    <a:pt x="1434315" y="561975"/>
                  </a:moveTo>
                  <a:cubicBezTo>
                    <a:pt x="1465651" y="561975"/>
                    <a:pt x="1465651" y="561975"/>
                    <a:pt x="1465651" y="561975"/>
                  </a:cubicBezTo>
                  <a:cubicBezTo>
                    <a:pt x="1465651" y="951081"/>
                    <a:pt x="1465651" y="951081"/>
                    <a:pt x="1465651" y="951081"/>
                  </a:cubicBezTo>
                  <a:cubicBezTo>
                    <a:pt x="1465651" y="959649"/>
                    <a:pt x="1459242" y="966788"/>
                    <a:pt x="1449983" y="966788"/>
                  </a:cubicBezTo>
                  <a:cubicBezTo>
                    <a:pt x="1181488" y="966788"/>
                    <a:pt x="1181488" y="966788"/>
                    <a:pt x="1181488" y="966788"/>
                  </a:cubicBezTo>
                  <a:cubicBezTo>
                    <a:pt x="1181488" y="935374"/>
                    <a:pt x="1181488" y="935374"/>
                    <a:pt x="1181488" y="935374"/>
                  </a:cubicBezTo>
                  <a:cubicBezTo>
                    <a:pt x="1434315" y="935374"/>
                    <a:pt x="1434315" y="935374"/>
                    <a:pt x="1434315" y="935374"/>
                  </a:cubicBezTo>
                  <a:cubicBezTo>
                    <a:pt x="1434315" y="561975"/>
                    <a:pt x="1434315" y="561975"/>
                    <a:pt x="1434315" y="561975"/>
                  </a:cubicBezTo>
                  <a:close/>
                  <a:moveTo>
                    <a:pt x="40076" y="561975"/>
                  </a:moveTo>
                  <a:cubicBezTo>
                    <a:pt x="40076" y="561975"/>
                    <a:pt x="40076" y="561975"/>
                    <a:pt x="71491" y="561975"/>
                  </a:cubicBezTo>
                  <a:cubicBezTo>
                    <a:pt x="71491" y="561975"/>
                    <a:pt x="71491" y="561975"/>
                    <a:pt x="71491" y="935374"/>
                  </a:cubicBezTo>
                  <a:cubicBezTo>
                    <a:pt x="71491" y="935374"/>
                    <a:pt x="71491" y="935374"/>
                    <a:pt x="324239" y="935374"/>
                  </a:cubicBezTo>
                  <a:cubicBezTo>
                    <a:pt x="324239" y="935374"/>
                    <a:pt x="324239" y="935374"/>
                    <a:pt x="324239" y="966788"/>
                  </a:cubicBezTo>
                  <a:cubicBezTo>
                    <a:pt x="324239" y="966788"/>
                    <a:pt x="324239" y="966788"/>
                    <a:pt x="55783" y="966788"/>
                  </a:cubicBezTo>
                  <a:cubicBezTo>
                    <a:pt x="46502" y="966788"/>
                    <a:pt x="40076" y="959649"/>
                    <a:pt x="40076" y="951081"/>
                  </a:cubicBezTo>
                  <a:cubicBezTo>
                    <a:pt x="40076" y="951081"/>
                    <a:pt x="40076" y="951081"/>
                    <a:pt x="40076" y="561975"/>
                  </a:cubicBezTo>
                  <a:close/>
                  <a:moveTo>
                    <a:pt x="750274" y="474662"/>
                  </a:moveTo>
                  <a:cubicBezTo>
                    <a:pt x="745302" y="474662"/>
                    <a:pt x="741751" y="478982"/>
                    <a:pt x="741751" y="483301"/>
                  </a:cubicBezTo>
                  <a:cubicBezTo>
                    <a:pt x="741751" y="527936"/>
                    <a:pt x="741751" y="527936"/>
                    <a:pt x="741751" y="527936"/>
                  </a:cubicBezTo>
                  <a:cubicBezTo>
                    <a:pt x="741751" y="532976"/>
                    <a:pt x="745302" y="536575"/>
                    <a:pt x="750274" y="536575"/>
                  </a:cubicBezTo>
                  <a:cubicBezTo>
                    <a:pt x="787204" y="536575"/>
                    <a:pt x="787204" y="536575"/>
                    <a:pt x="787204" y="536575"/>
                  </a:cubicBezTo>
                  <a:cubicBezTo>
                    <a:pt x="791465" y="536575"/>
                    <a:pt x="795726" y="532976"/>
                    <a:pt x="795726" y="527936"/>
                  </a:cubicBezTo>
                  <a:cubicBezTo>
                    <a:pt x="795726" y="523617"/>
                    <a:pt x="791465" y="519297"/>
                    <a:pt x="787204" y="519297"/>
                  </a:cubicBezTo>
                  <a:cubicBezTo>
                    <a:pt x="758796" y="519297"/>
                    <a:pt x="758796" y="519297"/>
                    <a:pt x="758796" y="519297"/>
                  </a:cubicBezTo>
                  <a:cubicBezTo>
                    <a:pt x="758796" y="483301"/>
                    <a:pt x="758796" y="483301"/>
                    <a:pt x="758796" y="483301"/>
                  </a:cubicBezTo>
                  <a:cubicBezTo>
                    <a:pt x="758796" y="478982"/>
                    <a:pt x="755245" y="474662"/>
                    <a:pt x="750274" y="474662"/>
                  </a:cubicBezTo>
                  <a:close/>
                  <a:moveTo>
                    <a:pt x="752863" y="455612"/>
                  </a:moveTo>
                  <a:cubicBezTo>
                    <a:pt x="791440" y="455612"/>
                    <a:pt x="822713" y="486885"/>
                    <a:pt x="822713" y="525462"/>
                  </a:cubicBezTo>
                  <a:cubicBezTo>
                    <a:pt x="822713" y="564039"/>
                    <a:pt x="791440" y="595312"/>
                    <a:pt x="752863" y="595312"/>
                  </a:cubicBezTo>
                  <a:cubicBezTo>
                    <a:pt x="714286" y="595312"/>
                    <a:pt x="683013" y="564039"/>
                    <a:pt x="683013" y="525462"/>
                  </a:cubicBezTo>
                  <a:cubicBezTo>
                    <a:pt x="683013" y="486885"/>
                    <a:pt x="714286" y="455612"/>
                    <a:pt x="752863" y="455612"/>
                  </a:cubicBezTo>
                  <a:close/>
                  <a:moveTo>
                    <a:pt x="935426" y="344487"/>
                  </a:moveTo>
                  <a:cubicBezTo>
                    <a:pt x="935426" y="344487"/>
                    <a:pt x="935426" y="344487"/>
                    <a:pt x="1273900" y="344487"/>
                  </a:cubicBezTo>
                  <a:cubicBezTo>
                    <a:pt x="1273900" y="344487"/>
                    <a:pt x="1273900" y="344487"/>
                    <a:pt x="1498836" y="507798"/>
                  </a:cubicBezTo>
                  <a:cubicBezTo>
                    <a:pt x="1511689" y="517151"/>
                    <a:pt x="1505262" y="536575"/>
                    <a:pt x="1490267" y="536575"/>
                  </a:cubicBezTo>
                  <a:cubicBezTo>
                    <a:pt x="1490267" y="536575"/>
                    <a:pt x="1490267" y="536575"/>
                    <a:pt x="1178928" y="536575"/>
                  </a:cubicBezTo>
                  <a:cubicBezTo>
                    <a:pt x="1178214" y="535136"/>
                    <a:pt x="1176785" y="532978"/>
                    <a:pt x="1174643" y="532259"/>
                  </a:cubicBezTo>
                  <a:cubicBezTo>
                    <a:pt x="1174643" y="532259"/>
                    <a:pt x="1174643" y="532259"/>
                    <a:pt x="935426" y="344487"/>
                  </a:cubicBezTo>
                  <a:close/>
                  <a:moveTo>
                    <a:pt x="231112" y="344487"/>
                  </a:moveTo>
                  <a:cubicBezTo>
                    <a:pt x="231112" y="344487"/>
                    <a:pt x="231112" y="344487"/>
                    <a:pt x="570301" y="344487"/>
                  </a:cubicBezTo>
                  <a:cubicBezTo>
                    <a:pt x="570301" y="344487"/>
                    <a:pt x="570301" y="344487"/>
                    <a:pt x="330370" y="532259"/>
                  </a:cubicBezTo>
                  <a:cubicBezTo>
                    <a:pt x="328227" y="532978"/>
                    <a:pt x="326799" y="535136"/>
                    <a:pt x="326085" y="536575"/>
                  </a:cubicBezTo>
                  <a:cubicBezTo>
                    <a:pt x="326085" y="536575"/>
                    <a:pt x="326085" y="536575"/>
                    <a:pt x="15460" y="536575"/>
                  </a:cubicBezTo>
                  <a:cubicBezTo>
                    <a:pt x="464" y="536575"/>
                    <a:pt x="-5962" y="517151"/>
                    <a:pt x="6891" y="507798"/>
                  </a:cubicBezTo>
                  <a:cubicBezTo>
                    <a:pt x="6891" y="507798"/>
                    <a:pt x="6891" y="507798"/>
                    <a:pt x="231112" y="344487"/>
                  </a:cubicBezTo>
                  <a:close/>
                  <a:moveTo>
                    <a:pt x="743933" y="250347"/>
                  </a:moveTo>
                  <a:cubicBezTo>
                    <a:pt x="748934" y="246062"/>
                    <a:pt x="757507" y="246062"/>
                    <a:pt x="762508" y="250347"/>
                  </a:cubicBezTo>
                  <a:cubicBezTo>
                    <a:pt x="762508" y="250347"/>
                    <a:pt x="762508" y="250347"/>
                    <a:pt x="1143308" y="547411"/>
                  </a:cubicBezTo>
                  <a:cubicBezTo>
                    <a:pt x="1147595" y="550267"/>
                    <a:pt x="1149738" y="555266"/>
                    <a:pt x="1149738" y="559550"/>
                  </a:cubicBezTo>
                  <a:cubicBezTo>
                    <a:pt x="1149738" y="559550"/>
                    <a:pt x="1149738" y="559550"/>
                    <a:pt x="1149738" y="1057275"/>
                  </a:cubicBezTo>
                  <a:cubicBezTo>
                    <a:pt x="1149738" y="1057275"/>
                    <a:pt x="1149738" y="1057275"/>
                    <a:pt x="1118303" y="1057275"/>
                  </a:cubicBezTo>
                  <a:cubicBezTo>
                    <a:pt x="1118303" y="1057275"/>
                    <a:pt x="1118303" y="1057275"/>
                    <a:pt x="1118303" y="567405"/>
                  </a:cubicBezTo>
                  <a:cubicBezTo>
                    <a:pt x="1118303" y="567405"/>
                    <a:pt x="1118303" y="567405"/>
                    <a:pt x="753220" y="282481"/>
                  </a:cubicBezTo>
                  <a:cubicBezTo>
                    <a:pt x="753220" y="282481"/>
                    <a:pt x="753220" y="282481"/>
                    <a:pt x="387423" y="567405"/>
                  </a:cubicBezTo>
                  <a:cubicBezTo>
                    <a:pt x="387423" y="567405"/>
                    <a:pt x="387423" y="567405"/>
                    <a:pt x="387423" y="1057275"/>
                  </a:cubicBezTo>
                  <a:cubicBezTo>
                    <a:pt x="387423" y="1057275"/>
                    <a:pt x="387423" y="1057275"/>
                    <a:pt x="355988" y="1057275"/>
                  </a:cubicBezTo>
                  <a:cubicBezTo>
                    <a:pt x="355988" y="1057275"/>
                    <a:pt x="355988" y="1057275"/>
                    <a:pt x="355988" y="559550"/>
                  </a:cubicBezTo>
                  <a:cubicBezTo>
                    <a:pt x="355988" y="555266"/>
                    <a:pt x="358131" y="550267"/>
                    <a:pt x="362418" y="547411"/>
                  </a:cubicBezTo>
                  <a:cubicBezTo>
                    <a:pt x="362418" y="547411"/>
                    <a:pt x="362418" y="547411"/>
                    <a:pt x="743933" y="250347"/>
                  </a:cubicBezTo>
                  <a:close/>
                  <a:moveTo>
                    <a:pt x="738988" y="0"/>
                  </a:moveTo>
                  <a:cubicBezTo>
                    <a:pt x="738988" y="0"/>
                    <a:pt x="738988" y="0"/>
                    <a:pt x="762664" y="0"/>
                  </a:cubicBezTo>
                  <a:cubicBezTo>
                    <a:pt x="762664" y="0"/>
                    <a:pt x="762664" y="0"/>
                    <a:pt x="953500" y="0"/>
                  </a:cubicBezTo>
                  <a:cubicBezTo>
                    <a:pt x="957087" y="0"/>
                    <a:pt x="959239" y="4279"/>
                    <a:pt x="956370" y="7131"/>
                  </a:cubicBezTo>
                  <a:cubicBezTo>
                    <a:pt x="956370" y="7131"/>
                    <a:pt x="956370" y="7131"/>
                    <a:pt x="907584" y="55620"/>
                  </a:cubicBezTo>
                  <a:cubicBezTo>
                    <a:pt x="906149" y="57046"/>
                    <a:pt x="906149" y="59898"/>
                    <a:pt x="907584" y="61325"/>
                  </a:cubicBezTo>
                  <a:cubicBezTo>
                    <a:pt x="907584" y="61325"/>
                    <a:pt x="907584" y="61325"/>
                    <a:pt x="956370" y="109814"/>
                  </a:cubicBezTo>
                  <a:cubicBezTo>
                    <a:pt x="959239" y="112666"/>
                    <a:pt x="957087" y="116944"/>
                    <a:pt x="953500" y="116944"/>
                  </a:cubicBezTo>
                  <a:cubicBezTo>
                    <a:pt x="953500" y="116944"/>
                    <a:pt x="953500" y="116944"/>
                    <a:pt x="770555" y="116944"/>
                  </a:cubicBezTo>
                  <a:cubicBezTo>
                    <a:pt x="768403" y="116944"/>
                    <a:pt x="766968" y="118371"/>
                    <a:pt x="766968" y="120510"/>
                  </a:cubicBezTo>
                  <a:cubicBezTo>
                    <a:pt x="766968" y="120510"/>
                    <a:pt x="766968" y="120510"/>
                    <a:pt x="766968" y="214636"/>
                  </a:cubicBezTo>
                  <a:cubicBezTo>
                    <a:pt x="766968" y="214636"/>
                    <a:pt x="766968" y="214636"/>
                    <a:pt x="761946" y="211070"/>
                  </a:cubicBezTo>
                  <a:cubicBezTo>
                    <a:pt x="756924" y="206792"/>
                    <a:pt x="748315" y="206792"/>
                    <a:pt x="743293" y="211070"/>
                  </a:cubicBezTo>
                  <a:cubicBezTo>
                    <a:pt x="743293" y="211070"/>
                    <a:pt x="743293" y="211070"/>
                    <a:pt x="735401" y="217488"/>
                  </a:cubicBezTo>
                  <a:cubicBezTo>
                    <a:pt x="735401" y="217488"/>
                    <a:pt x="735401" y="217488"/>
                    <a:pt x="735401" y="116944"/>
                  </a:cubicBezTo>
                  <a:cubicBezTo>
                    <a:pt x="735401" y="116944"/>
                    <a:pt x="735401" y="116944"/>
                    <a:pt x="735401" y="4279"/>
                  </a:cubicBezTo>
                  <a:cubicBezTo>
                    <a:pt x="735401" y="2139"/>
                    <a:pt x="736836" y="0"/>
                    <a:pt x="738988"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616B9EB6-6022-784C-918A-D07F639B2B41}"/>
              </a:ext>
            </a:extLst>
          </p:cNvPr>
          <p:cNvGrpSpPr>
            <a:grpSpLocks noChangeAspect="1"/>
          </p:cNvGrpSpPr>
          <p:nvPr/>
        </p:nvGrpSpPr>
        <p:grpSpPr>
          <a:xfrm>
            <a:off x="10151906" y="1541630"/>
            <a:ext cx="335171" cy="334847"/>
            <a:chOff x="2632075" y="2606675"/>
            <a:chExt cx="1646238" cy="1644650"/>
          </a:xfrm>
        </p:grpSpPr>
        <p:sp>
          <p:nvSpPr>
            <p:cNvPr id="17" name="AutoShape 3">
              <a:extLst>
                <a:ext uri="{FF2B5EF4-FFF2-40B4-BE49-F238E27FC236}">
                  <a16:creationId xmlns:a16="http://schemas.microsoft.com/office/drawing/2014/main" id="{3E3991FE-E7EB-6C4E-BDD2-438EB87A5D79}"/>
                </a:ext>
              </a:extLst>
            </p:cNvPr>
            <p:cNvSpPr>
              <a:spLocks noChangeAspect="1" noChangeArrowheads="1" noTextEdit="1"/>
            </p:cNvSpPr>
            <p:nvPr/>
          </p:nvSpPr>
          <p:spPr bwMode="auto">
            <a:xfrm>
              <a:off x="26320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Calibri"/>
                <a:ea typeface="+mn-ea"/>
                <a:cs typeface="+mn-cs"/>
              </a:endParaRPr>
            </a:p>
          </p:txBody>
        </p:sp>
        <p:sp>
          <p:nvSpPr>
            <p:cNvPr id="18" name="Freeform 7">
              <a:extLst>
                <a:ext uri="{FF2B5EF4-FFF2-40B4-BE49-F238E27FC236}">
                  <a16:creationId xmlns:a16="http://schemas.microsoft.com/office/drawing/2014/main" id="{9EA6EBB5-459B-6B4D-900F-62C95A9B9E2E}"/>
                </a:ext>
              </a:extLst>
            </p:cNvPr>
            <p:cNvSpPr>
              <a:spLocks/>
            </p:cNvSpPr>
            <p:nvPr/>
          </p:nvSpPr>
          <p:spPr bwMode="auto">
            <a:xfrm>
              <a:off x="2773651" y="2884488"/>
              <a:ext cx="1363087" cy="1133475"/>
            </a:xfrm>
            <a:custGeom>
              <a:avLst/>
              <a:gdLst>
                <a:gd name="connsiteX0" fmla="*/ 61624 w 1363087"/>
                <a:gd name="connsiteY0" fmla="*/ 779462 h 1133475"/>
                <a:gd name="connsiteX1" fmla="*/ 356899 w 1363087"/>
                <a:gd name="connsiteY1" fmla="*/ 779462 h 1133475"/>
                <a:gd name="connsiteX2" fmla="*/ 209261 w 1363087"/>
                <a:gd name="connsiteY2" fmla="*/ 920750 h 1133475"/>
                <a:gd name="connsiteX3" fmla="*/ 61624 w 1363087"/>
                <a:gd name="connsiteY3" fmla="*/ 779462 h 1133475"/>
                <a:gd name="connsiteX4" fmla="*/ 1006187 w 1363087"/>
                <a:gd name="connsiteY4" fmla="*/ 579437 h 1133475"/>
                <a:gd name="connsiteX5" fmla="*/ 1301462 w 1363087"/>
                <a:gd name="connsiteY5" fmla="*/ 579437 h 1133475"/>
                <a:gd name="connsiteX6" fmla="*/ 1153825 w 1363087"/>
                <a:gd name="connsiteY6" fmla="*/ 722312 h 1133475"/>
                <a:gd name="connsiteX7" fmla="*/ 1006187 w 1363087"/>
                <a:gd name="connsiteY7" fmla="*/ 579437 h 1133475"/>
                <a:gd name="connsiteX8" fmla="*/ 208905 w 1363087"/>
                <a:gd name="connsiteY8" fmla="*/ 261937 h 1133475"/>
                <a:gd name="connsiteX9" fmla="*/ 70531 w 1363087"/>
                <a:gd name="connsiteY9" fmla="*/ 658583 h 1133475"/>
                <a:gd name="connsiteX10" fmla="*/ 36294 w 1363087"/>
                <a:gd name="connsiteY10" fmla="*/ 756317 h 1133475"/>
                <a:gd name="connsiteX11" fmla="*/ 32727 w 1363087"/>
                <a:gd name="connsiteY11" fmla="*/ 804115 h 1133475"/>
                <a:gd name="connsiteX12" fmla="*/ 208905 w 1363087"/>
                <a:gd name="connsiteY12" fmla="*/ 952500 h 1133475"/>
                <a:gd name="connsiteX13" fmla="*/ 385796 w 1363087"/>
                <a:gd name="connsiteY13" fmla="*/ 804115 h 1133475"/>
                <a:gd name="connsiteX14" fmla="*/ 381516 w 1363087"/>
                <a:gd name="connsiteY14" fmla="*/ 756317 h 1133475"/>
                <a:gd name="connsiteX15" fmla="*/ 347993 w 1363087"/>
                <a:gd name="connsiteY15" fmla="*/ 658583 h 1133475"/>
                <a:gd name="connsiteX16" fmla="*/ 572405 w 1363087"/>
                <a:gd name="connsiteY16" fmla="*/ 93662 h 1133475"/>
                <a:gd name="connsiteX17" fmla="*/ 570977 w 1363087"/>
                <a:gd name="connsiteY17" fmla="*/ 114373 h 1133475"/>
                <a:gd name="connsiteX18" fmla="*/ 570977 w 1363087"/>
                <a:gd name="connsiteY18" fmla="*/ 126515 h 1133475"/>
                <a:gd name="connsiteX19" fmla="*/ 425263 w 1363087"/>
                <a:gd name="connsiteY19" fmla="*/ 168651 h 1133475"/>
                <a:gd name="connsiteX20" fmla="*/ 575977 w 1363087"/>
                <a:gd name="connsiteY20" fmla="*/ 147940 h 1133475"/>
                <a:gd name="connsiteX21" fmla="*/ 590262 w 1363087"/>
                <a:gd name="connsiteY21" fmla="*/ 177222 h 1133475"/>
                <a:gd name="connsiteX22" fmla="*/ 230979 w 1363087"/>
                <a:gd name="connsiteY22" fmla="*/ 226500 h 1133475"/>
                <a:gd name="connsiteX23" fmla="*/ 378121 w 1363087"/>
                <a:gd name="connsiteY23" fmla="*/ 647869 h 1133475"/>
                <a:gd name="connsiteX24" fmla="*/ 412406 w 1363087"/>
                <a:gd name="connsiteY24" fmla="*/ 746427 h 1133475"/>
                <a:gd name="connsiteX25" fmla="*/ 417406 w 1363087"/>
                <a:gd name="connsiteY25" fmla="*/ 809275 h 1133475"/>
                <a:gd name="connsiteX26" fmla="*/ 209551 w 1363087"/>
                <a:gd name="connsiteY26" fmla="*/ 984250 h 1133475"/>
                <a:gd name="connsiteX27" fmla="*/ 1696 w 1363087"/>
                <a:gd name="connsiteY27" fmla="*/ 809275 h 1133475"/>
                <a:gd name="connsiteX28" fmla="*/ 7410 w 1363087"/>
                <a:gd name="connsiteY28" fmla="*/ 746427 h 1133475"/>
                <a:gd name="connsiteX29" fmla="*/ 40981 w 1363087"/>
                <a:gd name="connsiteY29" fmla="*/ 647869 h 1133475"/>
                <a:gd name="connsiteX30" fmla="*/ 195265 w 1363087"/>
                <a:gd name="connsiteY30" fmla="*/ 208646 h 1133475"/>
                <a:gd name="connsiteX31" fmla="*/ 195265 w 1363087"/>
                <a:gd name="connsiteY31" fmla="*/ 207217 h 1133475"/>
                <a:gd name="connsiteX32" fmla="*/ 195980 w 1363087"/>
                <a:gd name="connsiteY32" fmla="*/ 205789 h 1133475"/>
                <a:gd name="connsiteX33" fmla="*/ 196694 w 1363087"/>
                <a:gd name="connsiteY33" fmla="*/ 205075 h 1133475"/>
                <a:gd name="connsiteX34" fmla="*/ 197408 w 1363087"/>
                <a:gd name="connsiteY34" fmla="*/ 203647 h 1133475"/>
                <a:gd name="connsiteX35" fmla="*/ 198122 w 1363087"/>
                <a:gd name="connsiteY35" fmla="*/ 202932 h 1133475"/>
                <a:gd name="connsiteX36" fmla="*/ 199551 w 1363087"/>
                <a:gd name="connsiteY36" fmla="*/ 201504 h 1133475"/>
                <a:gd name="connsiteX37" fmla="*/ 200265 w 1363087"/>
                <a:gd name="connsiteY37" fmla="*/ 200790 h 1133475"/>
                <a:gd name="connsiteX38" fmla="*/ 202408 w 1363087"/>
                <a:gd name="connsiteY38" fmla="*/ 200076 h 1133475"/>
                <a:gd name="connsiteX39" fmla="*/ 202408 w 1363087"/>
                <a:gd name="connsiteY39" fmla="*/ 199361 h 1133475"/>
                <a:gd name="connsiteX40" fmla="*/ 205265 w 1363087"/>
                <a:gd name="connsiteY40" fmla="*/ 198647 h 1133475"/>
                <a:gd name="connsiteX41" fmla="*/ 572405 w 1363087"/>
                <a:gd name="connsiteY41" fmla="*/ 93662 h 1133475"/>
                <a:gd name="connsiteX42" fmla="*/ 1154181 w 1363087"/>
                <a:gd name="connsiteY42" fmla="*/ 63500 h 1133475"/>
                <a:gd name="connsiteX43" fmla="*/ 1015094 w 1363087"/>
                <a:gd name="connsiteY43" fmla="*/ 460146 h 1133475"/>
                <a:gd name="connsiteX44" fmla="*/ 981570 w 1363087"/>
                <a:gd name="connsiteY44" fmla="*/ 557880 h 1133475"/>
                <a:gd name="connsiteX45" fmla="*/ 977290 w 1363087"/>
                <a:gd name="connsiteY45" fmla="*/ 605678 h 1133475"/>
                <a:gd name="connsiteX46" fmla="*/ 1154181 w 1363087"/>
                <a:gd name="connsiteY46" fmla="*/ 754063 h 1133475"/>
                <a:gd name="connsiteX47" fmla="*/ 1330359 w 1363087"/>
                <a:gd name="connsiteY47" fmla="*/ 605678 h 1133475"/>
                <a:gd name="connsiteX48" fmla="*/ 1326793 w 1363087"/>
                <a:gd name="connsiteY48" fmla="*/ 557880 h 1133475"/>
                <a:gd name="connsiteX49" fmla="*/ 1292556 w 1363087"/>
                <a:gd name="connsiteY49" fmla="*/ 460146 h 1133475"/>
                <a:gd name="connsiteX50" fmla="*/ 1154181 w 1363087"/>
                <a:gd name="connsiteY50" fmla="*/ 63500 h 1133475"/>
                <a:gd name="connsiteX51" fmla="*/ 681186 w 1363087"/>
                <a:gd name="connsiteY51" fmla="*/ 34925 h 1133475"/>
                <a:gd name="connsiteX52" fmla="*/ 686191 w 1363087"/>
                <a:gd name="connsiteY52" fmla="*/ 34925 h 1133475"/>
                <a:gd name="connsiteX53" fmla="*/ 735524 w 1363087"/>
                <a:gd name="connsiteY53" fmla="*/ 56353 h 1133475"/>
                <a:gd name="connsiteX54" fmla="*/ 755544 w 1363087"/>
                <a:gd name="connsiteY54" fmla="*/ 84924 h 1133475"/>
                <a:gd name="connsiteX55" fmla="*/ 760549 w 1363087"/>
                <a:gd name="connsiteY55" fmla="*/ 109924 h 1133475"/>
                <a:gd name="connsiteX56" fmla="*/ 760549 w 1363087"/>
                <a:gd name="connsiteY56" fmla="*/ 111352 h 1133475"/>
                <a:gd name="connsiteX57" fmla="*/ 754114 w 1363087"/>
                <a:gd name="connsiteY57" fmla="*/ 145637 h 1133475"/>
                <a:gd name="connsiteX58" fmla="*/ 721940 w 1363087"/>
                <a:gd name="connsiteY58" fmla="*/ 182779 h 1133475"/>
                <a:gd name="connsiteX59" fmla="*/ 721940 w 1363087"/>
                <a:gd name="connsiteY59" fmla="*/ 1022763 h 1133475"/>
                <a:gd name="connsiteX60" fmla="*/ 734094 w 1363087"/>
                <a:gd name="connsiteY60" fmla="*/ 1037763 h 1133475"/>
                <a:gd name="connsiteX61" fmla="*/ 991488 w 1363087"/>
                <a:gd name="connsiteY61" fmla="*/ 1102762 h 1133475"/>
                <a:gd name="connsiteX62" fmla="*/ 987913 w 1363087"/>
                <a:gd name="connsiteY62" fmla="*/ 1133475 h 1133475"/>
                <a:gd name="connsiteX63" fmla="*/ 375174 w 1363087"/>
                <a:gd name="connsiteY63" fmla="*/ 1133475 h 1133475"/>
                <a:gd name="connsiteX64" fmla="*/ 371599 w 1363087"/>
                <a:gd name="connsiteY64" fmla="*/ 1102762 h 1133475"/>
                <a:gd name="connsiteX65" fmla="*/ 632567 w 1363087"/>
                <a:gd name="connsiteY65" fmla="*/ 1037763 h 1133475"/>
                <a:gd name="connsiteX66" fmla="*/ 644722 w 1363087"/>
                <a:gd name="connsiteY66" fmla="*/ 1022763 h 1133475"/>
                <a:gd name="connsiteX67" fmla="*/ 644722 w 1363087"/>
                <a:gd name="connsiteY67" fmla="*/ 184922 h 1133475"/>
                <a:gd name="connsiteX68" fmla="*/ 626847 w 1363087"/>
                <a:gd name="connsiteY68" fmla="*/ 172065 h 1133475"/>
                <a:gd name="connsiteX69" fmla="*/ 606828 w 1363087"/>
                <a:gd name="connsiteY69" fmla="*/ 143494 h 1133475"/>
                <a:gd name="connsiteX70" fmla="*/ 601823 w 1363087"/>
                <a:gd name="connsiteY70" fmla="*/ 117781 h 1133475"/>
                <a:gd name="connsiteX71" fmla="*/ 601823 w 1363087"/>
                <a:gd name="connsiteY71" fmla="*/ 114209 h 1133475"/>
                <a:gd name="connsiteX72" fmla="*/ 607543 w 1363087"/>
                <a:gd name="connsiteY72" fmla="*/ 82781 h 1133475"/>
                <a:gd name="connsiteX73" fmla="*/ 681186 w 1363087"/>
                <a:gd name="connsiteY73" fmla="*/ 34925 h 1133475"/>
                <a:gd name="connsiteX74" fmla="*/ 1151392 w 1363087"/>
                <a:gd name="connsiteY74" fmla="*/ 0 h 1133475"/>
                <a:gd name="connsiteX75" fmla="*/ 1152107 w 1363087"/>
                <a:gd name="connsiteY75" fmla="*/ 0 h 1133475"/>
                <a:gd name="connsiteX76" fmla="*/ 1153535 w 1363087"/>
                <a:gd name="connsiteY76" fmla="*/ 0 h 1133475"/>
                <a:gd name="connsiteX77" fmla="*/ 1154964 w 1363087"/>
                <a:gd name="connsiteY77" fmla="*/ 0 h 1133475"/>
                <a:gd name="connsiteX78" fmla="*/ 1156392 w 1363087"/>
                <a:gd name="connsiteY78" fmla="*/ 714 h 1133475"/>
                <a:gd name="connsiteX79" fmla="*/ 1157821 w 1363087"/>
                <a:gd name="connsiteY79" fmla="*/ 714 h 1133475"/>
                <a:gd name="connsiteX80" fmla="*/ 1159250 w 1363087"/>
                <a:gd name="connsiteY80" fmla="*/ 1428 h 1133475"/>
                <a:gd name="connsiteX81" fmla="*/ 1159964 w 1363087"/>
                <a:gd name="connsiteY81" fmla="*/ 1428 h 1133475"/>
                <a:gd name="connsiteX82" fmla="*/ 1162107 w 1363087"/>
                <a:gd name="connsiteY82" fmla="*/ 2855 h 1133475"/>
                <a:gd name="connsiteX83" fmla="*/ 1162821 w 1363087"/>
                <a:gd name="connsiteY83" fmla="*/ 2855 h 1133475"/>
                <a:gd name="connsiteX84" fmla="*/ 1164250 w 1363087"/>
                <a:gd name="connsiteY84" fmla="*/ 4996 h 1133475"/>
                <a:gd name="connsiteX85" fmla="*/ 1164964 w 1363087"/>
                <a:gd name="connsiteY85" fmla="*/ 5710 h 1133475"/>
                <a:gd name="connsiteX86" fmla="*/ 1166392 w 1363087"/>
                <a:gd name="connsiteY86" fmla="*/ 7137 h 1133475"/>
                <a:gd name="connsiteX87" fmla="*/ 1166392 w 1363087"/>
                <a:gd name="connsiteY87" fmla="*/ 7851 h 1133475"/>
                <a:gd name="connsiteX88" fmla="*/ 1167821 w 1363087"/>
                <a:gd name="connsiteY88" fmla="*/ 9279 h 1133475"/>
                <a:gd name="connsiteX89" fmla="*/ 1167821 w 1363087"/>
                <a:gd name="connsiteY89" fmla="*/ 9992 h 1133475"/>
                <a:gd name="connsiteX90" fmla="*/ 1167821 w 1363087"/>
                <a:gd name="connsiteY90" fmla="*/ 10706 h 1133475"/>
                <a:gd name="connsiteX91" fmla="*/ 1322105 w 1363087"/>
                <a:gd name="connsiteY91" fmla="*/ 450362 h 1133475"/>
                <a:gd name="connsiteX92" fmla="*/ 1355677 w 1363087"/>
                <a:gd name="connsiteY92" fmla="*/ 548142 h 1133475"/>
                <a:gd name="connsiteX93" fmla="*/ 1361391 w 1363087"/>
                <a:gd name="connsiteY93" fmla="*/ 610950 h 1133475"/>
                <a:gd name="connsiteX94" fmla="*/ 1153535 w 1363087"/>
                <a:gd name="connsiteY94" fmla="*/ 785813 h 1133475"/>
                <a:gd name="connsiteX95" fmla="*/ 945680 w 1363087"/>
                <a:gd name="connsiteY95" fmla="*/ 610950 h 1133475"/>
                <a:gd name="connsiteX96" fmla="*/ 950680 w 1363087"/>
                <a:gd name="connsiteY96" fmla="*/ 548142 h 1133475"/>
                <a:gd name="connsiteX97" fmla="*/ 984965 w 1363087"/>
                <a:gd name="connsiteY97" fmla="*/ 450362 h 1133475"/>
                <a:gd name="connsiteX98" fmla="*/ 1128536 w 1363087"/>
                <a:gd name="connsiteY98" fmla="*/ 39255 h 1133475"/>
                <a:gd name="connsiteX99" fmla="*/ 790681 w 1363087"/>
                <a:gd name="connsiteY99" fmla="*/ 136322 h 1133475"/>
                <a:gd name="connsiteX100" fmla="*/ 792110 w 1363087"/>
                <a:gd name="connsiteY100" fmla="*/ 109200 h 1133475"/>
                <a:gd name="connsiteX101" fmla="*/ 792110 w 1363087"/>
                <a:gd name="connsiteY101" fmla="*/ 102777 h 1133475"/>
                <a:gd name="connsiteX102" fmla="*/ 937823 w 1363087"/>
                <a:gd name="connsiteY102" fmla="*/ 61381 h 1133475"/>
                <a:gd name="connsiteX103" fmla="*/ 787110 w 1363087"/>
                <a:gd name="connsiteY103" fmla="*/ 81365 h 1133475"/>
                <a:gd name="connsiteX104" fmla="*/ 772824 w 1363087"/>
                <a:gd name="connsiteY104" fmla="*/ 52102 h 1133475"/>
                <a:gd name="connsiteX105" fmla="*/ 1151392 w 1363087"/>
                <a:gd name="connsiteY105" fmla="*/ 0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63087" h="1133475">
                  <a:moveTo>
                    <a:pt x="61624" y="779462"/>
                  </a:moveTo>
                  <a:cubicBezTo>
                    <a:pt x="61624" y="779462"/>
                    <a:pt x="61624" y="779462"/>
                    <a:pt x="356899" y="779462"/>
                  </a:cubicBezTo>
                  <a:cubicBezTo>
                    <a:pt x="354759" y="857171"/>
                    <a:pt x="288429" y="920750"/>
                    <a:pt x="209261" y="920750"/>
                  </a:cubicBezTo>
                  <a:cubicBezTo>
                    <a:pt x="130807" y="920750"/>
                    <a:pt x="64477" y="857171"/>
                    <a:pt x="61624" y="779462"/>
                  </a:cubicBezTo>
                  <a:close/>
                  <a:moveTo>
                    <a:pt x="1006187" y="579437"/>
                  </a:moveTo>
                  <a:cubicBezTo>
                    <a:pt x="1006187" y="579437"/>
                    <a:pt x="1006187" y="579437"/>
                    <a:pt x="1301462" y="579437"/>
                  </a:cubicBezTo>
                  <a:cubicBezTo>
                    <a:pt x="1298609" y="658018"/>
                    <a:pt x="1232279" y="722312"/>
                    <a:pt x="1153825" y="722312"/>
                  </a:cubicBezTo>
                  <a:cubicBezTo>
                    <a:pt x="1074657" y="722312"/>
                    <a:pt x="1008327" y="658018"/>
                    <a:pt x="1006187" y="579437"/>
                  </a:cubicBezTo>
                  <a:close/>
                  <a:moveTo>
                    <a:pt x="208905" y="261937"/>
                  </a:moveTo>
                  <a:cubicBezTo>
                    <a:pt x="208905" y="261937"/>
                    <a:pt x="208905" y="261937"/>
                    <a:pt x="70531" y="658583"/>
                  </a:cubicBezTo>
                  <a:cubicBezTo>
                    <a:pt x="70531" y="658583"/>
                    <a:pt x="70531" y="658583"/>
                    <a:pt x="36294" y="756317"/>
                  </a:cubicBezTo>
                  <a:cubicBezTo>
                    <a:pt x="31301" y="772012"/>
                    <a:pt x="29874" y="788420"/>
                    <a:pt x="32727" y="804115"/>
                  </a:cubicBezTo>
                  <a:cubicBezTo>
                    <a:pt x="46993" y="889722"/>
                    <a:pt x="121173" y="952500"/>
                    <a:pt x="208905" y="952500"/>
                  </a:cubicBezTo>
                  <a:cubicBezTo>
                    <a:pt x="296637" y="952500"/>
                    <a:pt x="370817" y="889722"/>
                    <a:pt x="385796" y="804115"/>
                  </a:cubicBezTo>
                  <a:cubicBezTo>
                    <a:pt x="388649" y="788420"/>
                    <a:pt x="387223" y="772012"/>
                    <a:pt x="381516" y="756317"/>
                  </a:cubicBezTo>
                  <a:cubicBezTo>
                    <a:pt x="381516" y="756317"/>
                    <a:pt x="381516" y="756317"/>
                    <a:pt x="347993" y="658583"/>
                  </a:cubicBezTo>
                  <a:close/>
                  <a:moveTo>
                    <a:pt x="572405" y="93662"/>
                  </a:moveTo>
                  <a:cubicBezTo>
                    <a:pt x="571691" y="100090"/>
                    <a:pt x="570977" y="107232"/>
                    <a:pt x="570977" y="114373"/>
                  </a:cubicBezTo>
                  <a:cubicBezTo>
                    <a:pt x="570977" y="118659"/>
                    <a:pt x="570977" y="122230"/>
                    <a:pt x="570977" y="126515"/>
                  </a:cubicBezTo>
                  <a:cubicBezTo>
                    <a:pt x="570977" y="126515"/>
                    <a:pt x="570977" y="126515"/>
                    <a:pt x="425263" y="168651"/>
                  </a:cubicBezTo>
                  <a:cubicBezTo>
                    <a:pt x="425263" y="168651"/>
                    <a:pt x="425263" y="168651"/>
                    <a:pt x="575977" y="147940"/>
                  </a:cubicBezTo>
                  <a:cubicBezTo>
                    <a:pt x="578834" y="158653"/>
                    <a:pt x="583834" y="168651"/>
                    <a:pt x="590262" y="177222"/>
                  </a:cubicBezTo>
                  <a:cubicBezTo>
                    <a:pt x="590262" y="177222"/>
                    <a:pt x="590262" y="177222"/>
                    <a:pt x="230979" y="226500"/>
                  </a:cubicBezTo>
                  <a:cubicBezTo>
                    <a:pt x="230979" y="226500"/>
                    <a:pt x="230979" y="226500"/>
                    <a:pt x="378121" y="647869"/>
                  </a:cubicBezTo>
                  <a:cubicBezTo>
                    <a:pt x="378121" y="647869"/>
                    <a:pt x="378121" y="647869"/>
                    <a:pt x="412406" y="746427"/>
                  </a:cubicBezTo>
                  <a:cubicBezTo>
                    <a:pt x="419549" y="766424"/>
                    <a:pt x="420978" y="788564"/>
                    <a:pt x="417406" y="809275"/>
                  </a:cubicBezTo>
                  <a:cubicBezTo>
                    <a:pt x="400264" y="910689"/>
                    <a:pt x="313122" y="984250"/>
                    <a:pt x="209551" y="984250"/>
                  </a:cubicBezTo>
                  <a:cubicBezTo>
                    <a:pt x="106695" y="984250"/>
                    <a:pt x="19553" y="910689"/>
                    <a:pt x="1696" y="809275"/>
                  </a:cubicBezTo>
                  <a:cubicBezTo>
                    <a:pt x="-1876" y="788564"/>
                    <a:pt x="267" y="766424"/>
                    <a:pt x="7410" y="746427"/>
                  </a:cubicBezTo>
                  <a:cubicBezTo>
                    <a:pt x="7410" y="746427"/>
                    <a:pt x="7410" y="746427"/>
                    <a:pt x="40981" y="647869"/>
                  </a:cubicBezTo>
                  <a:cubicBezTo>
                    <a:pt x="40981" y="647869"/>
                    <a:pt x="40981" y="647869"/>
                    <a:pt x="195265" y="208646"/>
                  </a:cubicBezTo>
                  <a:cubicBezTo>
                    <a:pt x="195265" y="207932"/>
                    <a:pt x="195265" y="207932"/>
                    <a:pt x="195265" y="207217"/>
                  </a:cubicBezTo>
                  <a:cubicBezTo>
                    <a:pt x="195265" y="207217"/>
                    <a:pt x="195980" y="206503"/>
                    <a:pt x="195980" y="205789"/>
                  </a:cubicBezTo>
                  <a:cubicBezTo>
                    <a:pt x="195980" y="205789"/>
                    <a:pt x="196694" y="205075"/>
                    <a:pt x="196694" y="205075"/>
                  </a:cubicBezTo>
                  <a:cubicBezTo>
                    <a:pt x="196694" y="204361"/>
                    <a:pt x="197408" y="204361"/>
                    <a:pt x="197408" y="203647"/>
                  </a:cubicBezTo>
                  <a:cubicBezTo>
                    <a:pt x="198122" y="203647"/>
                    <a:pt x="198122" y="202932"/>
                    <a:pt x="198122" y="202932"/>
                  </a:cubicBezTo>
                  <a:cubicBezTo>
                    <a:pt x="198837" y="202218"/>
                    <a:pt x="198837" y="202218"/>
                    <a:pt x="199551" y="201504"/>
                  </a:cubicBezTo>
                  <a:cubicBezTo>
                    <a:pt x="199551" y="201504"/>
                    <a:pt x="200265" y="201504"/>
                    <a:pt x="200265" y="200790"/>
                  </a:cubicBezTo>
                  <a:cubicBezTo>
                    <a:pt x="200980" y="200790"/>
                    <a:pt x="201694" y="200076"/>
                    <a:pt x="202408" y="200076"/>
                  </a:cubicBezTo>
                  <a:cubicBezTo>
                    <a:pt x="202408" y="200076"/>
                    <a:pt x="202408" y="199361"/>
                    <a:pt x="202408" y="199361"/>
                  </a:cubicBezTo>
                  <a:cubicBezTo>
                    <a:pt x="203122" y="199361"/>
                    <a:pt x="204551" y="198647"/>
                    <a:pt x="205265" y="198647"/>
                  </a:cubicBezTo>
                  <a:cubicBezTo>
                    <a:pt x="205265" y="198647"/>
                    <a:pt x="205265" y="198647"/>
                    <a:pt x="572405" y="93662"/>
                  </a:cubicBezTo>
                  <a:close/>
                  <a:moveTo>
                    <a:pt x="1154181" y="63500"/>
                  </a:moveTo>
                  <a:cubicBezTo>
                    <a:pt x="1154181" y="63500"/>
                    <a:pt x="1154181" y="63500"/>
                    <a:pt x="1015094" y="460146"/>
                  </a:cubicBezTo>
                  <a:cubicBezTo>
                    <a:pt x="1015094" y="460146"/>
                    <a:pt x="1015094" y="460146"/>
                    <a:pt x="981570" y="557880"/>
                  </a:cubicBezTo>
                  <a:cubicBezTo>
                    <a:pt x="975864" y="573575"/>
                    <a:pt x="974437" y="589983"/>
                    <a:pt x="977290" y="605678"/>
                  </a:cubicBezTo>
                  <a:cubicBezTo>
                    <a:pt x="992269" y="691998"/>
                    <a:pt x="1066449" y="754063"/>
                    <a:pt x="1154181" y="754063"/>
                  </a:cubicBezTo>
                  <a:cubicBezTo>
                    <a:pt x="1241914" y="754063"/>
                    <a:pt x="1316094" y="691998"/>
                    <a:pt x="1330359" y="605678"/>
                  </a:cubicBezTo>
                  <a:cubicBezTo>
                    <a:pt x="1333212" y="589983"/>
                    <a:pt x="1331786" y="573575"/>
                    <a:pt x="1326793" y="557880"/>
                  </a:cubicBezTo>
                  <a:cubicBezTo>
                    <a:pt x="1326793" y="557880"/>
                    <a:pt x="1326793" y="557880"/>
                    <a:pt x="1292556" y="460146"/>
                  </a:cubicBezTo>
                  <a:cubicBezTo>
                    <a:pt x="1292556" y="460146"/>
                    <a:pt x="1292556" y="460146"/>
                    <a:pt x="1154181" y="63500"/>
                  </a:cubicBezTo>
                  <a:close/>
                  <a:moveTo>
                    <a:pt x="681186" y="34925"/>
                  </a:moveTo>
                  <a:cubicBezTo>
                    <a:pt x="682616" y="34925"/>
                    <a:pt x="684761" y="34925"/>
                    <a:pt x="686191" y="34925"/>
                  </a:cubicBezTo>
                  <a:cubicBezTo>
                    <a:pt x="705495" y="36354"/>
                    <a:pt x="722655" y="44211"/>
                    <a:pt x="735524" y="56353"/>
                  </a:cubicBezTo>
                  <a:cubicBezTo>
                    <a:pt x="744104" y="64210"/>
                    <a:pt x="751254" y="74210"/>
                    <a:pt x="755544" y="84924"/>
                  </a:cubicBezTo>
                  <a:cubicBezTo>
                    <a:pt x="758404" y="92781"/>
                    <a:pt x="760549" y="101352"/>
                    <a:pt x="760549" y="109924"/>
                  </a:cubicBezTo>
                  <a:cubicBezTo>
                    <a:pt x="760549" y="110638"/>
                    <a:pt x="760549" y="110638"/>
                    <a:pt x="760549" y="111352"/>
                  </a:cubicBezTo>
                  <a:cubicBezTo>
                    <a:pt x="761264" y="123495"/>
                    <a:pt x="759119" y="134923"/>
                    <a:pt x="754114" y="145637"/>
                  </a:cubicBezTo>
                  <a:cubicBezTo>
                    <a:pt x="747679" y="161351"/>
                    <a:pt x="736239" y="174208"/>
                    <a:pt x="721940" y="182779"/>
                  </a:cubicBezTo>
                  <a:cubicBezTo>
                    <a:pt x="721940" y="182779"/>
                    <a:pt x="721940" y="182779"/>
                    <a:pt x="721940" y="1022763"/>
                  </a:cubicBezTo>
                  <a:cubicBezTo>
                    <a:pt x="721940" y="1029906"/>
                    <a:pt x="726944" y="1036334"/>
                    <a:pt x="734094" y="1037763"/>
                  </a:cubicBezTo>
                  <a:cubicBezTo>
                    <a:pt x="734094" y="1037763"/>
                    <a:pt x="734094" y="1037763"/>
                    <a:pt x="991488" y="1102762"/>
                  </a:cubicBezTo>
                  <a:cubicBezTo>
                    <a:pt x="1009362" y="1107047"/>
                    <a:pt x="1006502" y="1133475"/>
                    <a:pt x="987913" y="1133475"/>
                  </a:cubicBezTo>
                  <a:cubicBezTo>
                    <a:pt x="987913" y="1133475"/>
                    <a:pt x="987913" y="1133475"/>
                    <a:pt x="375174" y="1133475"/>
                  </a:cubicBezTo>
                  <a:cubicBezTo>
                    <a:pt x="356584" y="1133475"/>
                    <a:pt x="353724" y="1107047"/>
                    <a:pt x="371599" y="1102762"/>
                  </a:cubicBezTo>
                  <a:cubicBezTo>
                    <a:pt x="371599" y="1102762"/>
                    <a:pt x="371599" y="1102762"/>
                    <a:pt x="632567" y="1037763"/>
                  </a:cubicBezTo>
                  <a:cubicBezTo>
                    <a:pt x="639717" y="1036334"/>
                    <a:pt x="644722" y="1029906"/>
                    <a:pt x="644722" y="1022763"/>
                  </a:cubicBezTo>
                  <a:cubicBezTo>
                    <a:pt x="644722" y="1022763"/>
                    <a:pt x="644722" y="1022763"/>
                    <a:pt x="644722" y="184922"/>
                  </a:cubicBezTo>
                  <a:cubicBezTo>
                    <a:pt x="638287" y="182065"/>
                    <a:pt x="631852" y="177065"/>
                    <a:pt x="626847" y="172065"/>
                  </a:cubicBezTo>
                  <a:cubicBezTo>
                    <a:pt x="618267" y="164208"/>
                    <a:pt x="611117" y="154209"/>
                    <a:pt x="606828" y="143494"/>
                  </a:cubicBezTo>
                  <a:cubicBezTo>
                    <a:pt x="603968" y="135637"/>
                    <a:pt x="601823" y="126352"/>
                    <a:pt x="601823" y="117781"/>
                  </a:cubicBezTo>
                  <a:cubicBezTo>
                    <a:pt x="601823" y="116352"/>
                    <a:pt x="601823" y="115638"/>
                    <a:pt x="601823" y="114209"/>
                  </a:cubicBezTo>
                  <a:cubicBezTo>
                    <a:pt x="601823" y="103495"/>
                    <a:pt x="603968" y="92781"/>
                    <a:pt x="607543" y="82781"/>
                  </a:cubicBezTo>
                  <a:cubicBezTo>
                    <a:pt x="619697" y="54925"/>
                    <a:pt x="648297" y="34925"/>
                    <a:pt x="681186" y="34925"/>
                  </a:cubicBezTo>
                  <a:close/>
                  <a:moveTo>
                    <a:pt x="1151392" y="0"/>
                  </a:moveTo>
                  <a:cubicBezTo>
                    <a:pt x="1151392" y="0"/>
                    <a:pt x="1151392" y="0"/>
                    <a:pt x="1152107" y="0"/>
                  </a:cubicBezTo>
                  <a:cubicBezTo>
                    <a:pt x="1152107" y="0"/>
                    <a:pt x="1152821" y="0"/>
                    <a:pt x="1153535" y="0"/>
                  </a:cubicBezTo>
                  <a:cubicBezTo>
                    <a:pt x="1154250" y="0"/>
                    <a:pt x="1154250" y="0"/>
                    <a:pt x="1154964" y="0"/>
                  </a:cubicBezTo>
                  <a:cubicBezTo>
                    <a:pt x="1155678" y="0"/>
                    <a:pt x="1155678" y="714"/>
                    <a:pt x="1156392" y="714"/>
                  </a:cubicBezTo>
                  <a:cubicBezTo>
                    <a:pt x="1157107" y="714"/>
                    <a:pt x="1157107" y="714"/>
                    <a:pt x="1157821" y="714"/>
                  </a:cubicBezTo>
                  <a:cubicBezTo>
                    <a:pt x="1157821" y="714"/>
                    <a:pt x="1158535" y="1428"/>
                    <a:pt x="1159250" y="1428"/>
                  </a:cubicBezTo>
                  <a:cubicBezTo>
                    <a:pt x="1159250" y="1428"/>
                    <a:pt x="1159964" y="1428"/>
                    <a:pt x="1159964" y="1428"/>
                  </a:cubicBezTo>
                  <a:cubicBezTo>
                    <a:pt x="1160678" y="2141"/>
                    <a:pt x="1161392" y="2141"/>
                    <a:pt x="1162107" y="2855"/>
                  </a:cubicBezTo>
                  <a:cubicBezTo>
                    <a:pt x="1162107" y="2855"/>
                    <a:pt x="1162107" y="2855"/>
                    <a:pt x="1162821" y="2855"/>
                  </a:cubicBezTo>
                  <a:cubicBezTo>
                    <a:pt x="1163535" y="3569"/>
                    <a:pt x="1163535" y="4282"/>
                    <a:pt x="1164250" y="4996"/>
                  </a:cubicBezTo>
                  <a:cubicBezTo>
                    <a:pt x="1164964" y="4996"/>
                    <a:pt x="1164964" y="4996"/>
                    <a:pt x="1164964" y="5710"/>
                  </a:cubicBezTo>
                  <a:cubicBezTo>
                    <a:pt x="1165678" y="5710"/>
                    <a:pt x="1165678" y="6424"/>
                    <a:pt x="1166392" y="7137"/>
                  </a:cubicBezTo>
                  <a:cubicBezTo>
                    <a:pt x="1166392" y="7137"/>
                    <a:pt x="1166392" y="7137"/>
                    <a:pt x="1166392" y="7851"/>
                  </a:cubicBezTo>
                  <a:cubicBezTo>
                    <a:pt x="1167107" y="7851"/>
                    <a:pt x="1167107" y="8565"/>
                    <a:pt x="1167821" y="9279"/>
                  </a:cubicBezTo>
                  <a:cubicBezTo>
                    <a:pt x="1167821" y="9279"/>
                    <a:pt x="1167821" y="9992"/>
                    <a:pt x="1167821" y="9992"/>
                  </a:cubicBezTo>
                  <a:cubicBezTo>
                    <a:pt x="1167821" y="9992"/>
                    <a:pt x="1167821" y="10706"/>
                    <a:pt x="1167821" y="10706"/>
                  </a:cubicBezTo>
                  <a:cubicBezTo>
                    <a:pt x="1167821" y="10706"/>
                    <a:pt x="1167821" y="10706"/>
                    <a:pt x="1322105" y="450362"/>
                  </a:cubicBezTo>
                  <a:lnTo>
                    <a:pt x="1355677" y="548142"/>
                  </a:lnTo>
                  <a:cubicBezTo>
                    <a:pt x="1362819" y="568840"/>
                    <a:pt x="1364962" y="590252"/>
                    <a:pt x="1361391" y="610950"/>
                  </a:cubicBezTo>
                  <a:cubicBezTo>
                    <a:pt x="1343534" y="712299"/>
                    <a:pt x="1256392" y="785813"/>
                    <a:pt x="1153535" y="785813"/>
                  </a:cubicBezTo>
                  <a:cubicBezTo>
                    <a:pt x="1049965" y="785813"/>
                    <a:pt x="962823" y="712299"/>
                    <a:pt x="945680" y="610950"/>
                  </a:cubicBezTo>
                  <a:cubicBezTo>
                    <a:pt x="942108" y="590252"/>
                    <a:pt x="943537" y="568840"/>
                    <a:pt x="950680" y="548142"/>
                  </a:cubicBezTo>
                  <a:cubicBezTo>
                    <a:pt x="950680" y="548142"/>
                    <a:pt x="950680" y="548142"/>
                    <a:pt x="984965" y="450362"/>
                  </a:cubicBezTo>
                  <a:cubicBezTo>
                    <a:pt x="984965" y="450362"/>
                    <a:pt x="984965" y="450362"/>
                    <a:pt x="1128536" y="39255"/>
                  </a:cubicBezTo>
                  <a:cubicBezTo>
                    <a:pt x="1128536" y="39255"/>
                    <a:pt x="1128536" y="39255"/>
                    <a:pt x="790681" y="136322"/>
                  </a:cubicBezTo>
                  <a:cubicBezTo>
                    <a:pt x="792110" y="127043"/>
                    <a:pt x="792824" y="118479"/>
                    <a:pt x="792110" y="109200"/>
                  </a:cubicBezTo>
                  <a:cubicBezTo>
                    <a:pt x="792110" y="107059"/>
                    <a:pt x="792110" y="104918"/>
                    <a:pt x="792110" y="102777"/>
                  </a:cubicBezTo>
                  <a:cubicBezTo>
                    <a:pt x="792110" y="102777"/>
                    <a:pt x="792110" y="102777"/>
                    <a:pt x="937823" y="61381"/>
                  </a:cubicBezTo>
                  <a:cubicBezTo>
                    <a:pt x="937823" y="61381"/>
                    <a:pt x="937823" y="61381"/>
                    <a:pt x="787110" y="81365"/>
                  </a:cubicBezTo>
                  <a:cubicBezTo>
                    <a:pt x="784253" y="71373"/>
                    <a:pt x="779253" y="61381"/>
                    <a:pt x="772824" y="52102"/>
                  </a:cubicBezTo>
                  <a:cubicBezTo>
                    <a:pt x="772824" y="52102"/>
                    <a:pt x="772824" y="52102"/>
                    <a:pt x="1151392"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Calibri"/>
                <a:ea typeface="+mn-ea"/>
                <a:cs typeface="+mn-cs"/>
              </a:endParaRPr>
            </a:p>
          </p:txBody>
        </p:sp>
      </p:grpSp>
      <p:sp>
        <p:nvSpPr>
          <p:cNvPr id="20" name="TextBox 19">
            <a:extLst>
              <a:ext uri="{FF2B5EF4-FFF2-40B4-BE49-F238E27FC236}">
                <a16:creationId xmlns:a16="http://schemas.microsoft.com/office/drawing/2014/main" id="{C086BEE5-546A-7848-A21E-E9E42C6575DB}"/>
              </a:ext>
            </a:extLst>
          </p:cNvPr>
          <p:cNvSpPr txBox="1"/>
          <p:nvPr/>
        </p:nvSpPr>
        <p:spPr>
          <a:xfrm>
            <a:off x="1024158" y="1492726"/>
            <a:ext cx="9457343" cy="2031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EDAE1D"/>
                </a:solidFill>
                <a:effectLst/>
                <a:uLnTx/>
                <a:uFillTx/>
                <a:latin typeface="Calibri"/>
                <a:ea typeface="+mn-ea"/>
                <a:cs typeface="+mn-cs"/>
              </a:rPr>
              <a:t>Proposed testing strategy to help control the spread of the COVID-19 disease</a:t>
            </a:r>
          </a:p>
        </p:txBody>
      </p:sp>
      <p:graphicFrame>
        <p:nvGraphicFramePr>
          <p:cNvPr id="21" name="Table 6">
            <a:extLst>
              <a:ext uri="{FF2B5EF4-FFF2-40B4-BE49-F238E27FC236}">
                <a16:creationId xmlns:a16="http://schemas.microsoft.com/office/drawing/2014/main" id="{3E209866-B5FF-CE48-978F-BF57466778B0}"/>
              </a:ext>
            </a:extLst>
          </p:cNvPr>
          <p:cNvGraphicFramePr>
            <a:graphicFrameLocks noGrp="1"/>
          </p:cNvGraphicFramePr>
          <p:nvPr/>
        </p:nvGraphicFramePr>
        <p:xfrm>
          <a:off x="920044" y="1779208"/>
          <a:ext cx="10022956" cy="4416754"/>
        </p:xfrm>
        <a:graphic>
          <a:graphicData uri="http://schemas.openxmlformats.org/drawingml/2006/table">
            <a:tbl>
              <a:tblPr firstRow="1" bandRow="1">
                <a:tableStyleId>{5C22544A-7EE6-4342-B048-85BDC9FD1C3A}</a:tableStyleId>
              </a:tblPr>
              <a:tblGrid>
                <a:gridCol w="2916115">
                  <a:extLst>
                    <a:ext uri="{9D8B030D-6E8A-4147-A177-3AD203B41FA5}">
                      <a16:colId xmlns:a16="http://schemas.microsoft.com/office/drawing/2014/main" val="2013461613"/>
                    </a:ext>
                  </a:extLst>
                </a:gridCol>
                <a:gridCol w="1538654">
                  <a:extLst>
                    <a:ext uri="{9D8B030D-6E8A-4147-A177-3AD203B41FA5}">
                      <a16:colId xmlns:a16="http://schemas.microsoft.com/office/drawing/2014/main" val="1245400340"/>
                    </a:ext>
                  </a:extLst>
                </a:gridCol>
                <a:gridCol w="3516923">
                  <a:extLst>
                    <a:ext uri="{9D8B030D-6E8A-4147-A177-3AD203B41FA5}">
                      <a16:colId xmlns:a16="http://schemas.microsoft.com/office/drawing/2014/main" val="3538588824"/>
                    </a:ext>
                  </a:extLst>
                </a:gridCol>
                <a:gridCol w="2051264">
                  <a:extLst>
                    <a:ext uri="{9D8B030D-6E8A-4147-A177-3AD203B41FA5}">
                      <a16:colId xmlns:a16="http://schemas.microsoft.com/office/drawing/2014/main" val="1393761057"/>
                    </a:ext>
                  </a:extLst>
                </a:gridCol>
              </a:tblGrid>
              <a:tr h="199718">
                <a:tc>
                  <a:txBody>
                    <a:bodyPr/>
                    <a:lstStyle/>
                    <a:p>
                      <a:pPr algn="ctr"/>
                      <a:r>
                        <a:rPr lang="en-US" sz="1100" dirty="0">
                          <a:solidFill>
                            <a:schemeClr val="tx1"/>
                          </a:solidFill>
                          <a:latin typeface="+mn-lt"/>
                        </a:rPr>
                        <a:t>Testing Groups / Scenarios</a:t>
                      </a:r>
                    </a:p>
                  </a:txBody>
                  <a:tcPr anchor="ctr"/>
                </a:tc>
                <a:tc>
                  <a:txBody>
                    <a:bodyPr/>
                    <a:lstStyle/>
                    <a:p>
                      <a:pPr algn="ctr"/>
                      <a:r>
                        <a:rPr lang="en-US" sz="1100" dirty="0">
                          <a:solidFill>
                            <a:schemeClr val="tx1"/>
                          </a:solidFill>
                          <a:latin typeface="+mn-lt"/>
                        </a:rPr>
                        <a:t>Frequency</a:t>
                      </a:r>
                    </a:p>
                  </a:txBody>
                  <a:tcPr anchor="ctr"/>
                </a:tc>
                <a:tc>
                  <a:txBody>
                    <a:bodyPr/>
                    <a:lstStyle/>
                    <a:p>
                      <a:pPr algn="ctr"/>
                      <a:r>
                        <a:rPr lang="en-US" sz="1100" dirty="0">
                          <a:solidFill>
                            <a:schemeClr val="tx1"/>
                          </a:solidFill>
                          <a:latin typeface="+mn-lt"/>
                        </a:rPr>
                        <a:t>Target Population(s)</a:t>
                      </a:r>
                    </a:p>
                  </a:txBody>
                  <a:tcPr anchor="ctr"/>
                </a:tc>
                <a:tc>
                  <a:txBody>
                    <a:bodyPr/>
                    <a:lstStyle/>
                    <a:p>
                      <a:pPr algn="ctr"/>
                      <a:r>
                        <a:rPr lang="en-US" sz="1100" dirty="0">
                          <a:solidFill>
                            <a:schemeClr val="tx1"/>
                          </a:solidFill>
                          <a:latin typeface="+mn-lt"/>
                        </a:rPr>
                        <a:t>Minimum adherence</a:t>
                      </a:r>
                    </a:p>
                  </a:txBody>
                  <a:tcPr anchor="ctr"/>
                </a:tc>
                <a:extLst>
                  <a:ext uri="{0D108BD9-81ED-4DB2-BD59-A6C34878D82A}">
                    <a16:rowId xmlns:a16="http://schemas.microsoft.com/office/drawing/2014/main" val="2517188219"/>
                  </a:ext>
                </a:extLst>
              </a:tr>
              <a:tr h="1076011">
                <a:tc>
                  <a:txBody>
                    <a:bodyPr/>
                    <a:lstStyle/>
                    <a:p>
                      <a:r>
                        <a:rPr lang="en-US" sz="1100" b="1" dirty="0">
                          <a:solidFill>
                            <a:schemeClr val="tx1"/>
                          </a:solidFill>
                          <a:latin typeface="+mn-lt"/>
                        </a:rPr>
                        <a:t>Screening</a:t>
                      </a:r>
                      <a:r>
                        <a:rPr lang="en-US" sz="1100" dirty="0">
                          <a:solidFill>
                            <a:schemeClr val="tx1"/>
                          </a:solidFill>
                          <a:latin typeface="+mn-lt"/>
                        </a:rPr>
                        <a:t>: School Staff</a:t>
                      </a:r>
                    </a:p>
                  </a:txBody>
                  <a:tcPr>
                    <a:lnB w="12700" cap="flat" cmpd="sng" algn="ctr">
                      <a:solidFill>
                        <a:schemeClr val="bg1">
                          <a:lumMod val="50000"/>
                        </a:schemeClr>
                      </a:solidFill>
                      <a:prstDash val="sysDot"/>
                      <a:round/>
                      <a:headEnd type="none" w="med" len="med"/>
                      <a:tailEnd type="none" w="med" len="med"/>
                    </a:lnB>
                    <a:noFill/>
                  </a:tcPr>
                </a:tc>
                <a:tc>
                  <a:txBody>
                    <a:bodyPr/>
                    <a:lstStyle/>
                    <a:p>
                      <a:pPr algn="ctr"/>
                      <a:r>
                        <a:rPr lang="en-US" sz="1100" dirty="0">
                          <a:solidFill>
                            <a:schemeClr val="tx1"/>
                          </a:solidFill>
                          <a:latin typeface="+mn-lt"/>
                        </a:rPr>
                        <a:t>x2/ week</a:t>
                      </a:r>
                    </a:p>
                  </a:txBody>
                  <a:tcPr>
                    <a:lnB w="12700" cap="flat" cmpd="sng" algn="ctr">
                      <a:solidFill>
                        <a:schemeClr val="bg1">
                          <a:lumMod val="50000"/>
                        </a:schemeClr>
                      </a:solidFill>
                      <a:prstDash val="sysDot"/>
                      <a:round/>
                      <a:headEnd type="none" w="med" len="med"/>
                      <a:tailEnd type="none" w="med" len="med"/>
                    </a:lnB>
                    <a:noFill/>
                  </a:tcPr>
                </a:tc>
                <a:tc>
                  <a:txBody>
                    <a:body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US" sz="1100" b="0" i="0" u="none" kern="1200" spc="0" dirty="0">
                          <a:solidFill>
                            <a:schemeClr val="tx1"/>
                          </a:solidFill>
                          <a:latin typeface="+mn-lt"/>
                        </a:rPr>
                        <a:t>Including, but not limited to:</a:t>
                      </a:r>
                    </a:p>
                    <a:p>
                      <a:pPr marL="285750" indent="-285750" algn="l">
                        <a:buFont typeface="Arial" panose="020B0604020202020204" pitchFamily="34" charset="0"/>
                        <a:buChar char="•"/>
                      </a:pPr>
                      <a:r>
                        <a:rPr lang="en-US" sz="1100" dirty="0">
                          <a:solidFill>
                            <a:schemeClr val="tx1"/>
                          </a:solidFill>
                          <a:latin typeface="+mn-lt"/>
                        </a:rPr>
                        <a:t>Teachers</a:t>
                      </a:r>
                    </a:p>
                    <a:p>
                      <a:pPr marL="285750" indent="-285750" algn="l">
                        <a:buFont typeface="Arial" panose="020B0604020202020204" pitchFamily="34" charset="0"/>
                        <a:buChar char="•"/>
                      </a:pPr>
                      <a:r>
                        <a:rPr lang="en-US" sz="1100" dirty="0">
                          <a:solidFill>
                            <a:schemeClr val="tx1"/>
                          </a:solidFill>
                          <a:latin typeface="+mn-lt"/>
                        </a:rPr>
                        <a:t>Administrative staff</a:t>
                      </a:r>
                    </a:p>
                    <a:p>
                      <a:pPr marL="285750" indent="-285750" algn="l">
                        <a:buFont typeface="Arial" panose="020B0604020202020204" pitchFamily="34" charset="0"/>
                        <a:buChar char="•"/>
                      </a:pPr>
                      <a:r>
                        <a:rPr lang="en-US" sz="1100" dirty="0">
                          <a:solidFill>
                            <a:schemeClr val="tx1"/>
                          </a:solidFill>
                          <a:latin typeface="+mn-lt"/>
                        </a:rPr>
                        <a:t>Coaches</a:t>
                      </a:r>
                    </a:p>
                    <a:p>
                      <a:pPr marL="285750" indent="-285750" algn="l">
                        <a:buFont typeface="Arial" panose="020B0604020202020204" pitchFamily="34" charset="0"/>
                        <a:buChar char="•"/>
                      </a:pPr>
                      <a:r>
                        <a:rPr lang="en-US" sz="1100" dirty="0">
                          <a:solidFill>
                            <a:schemeClr val="tx1"/>
                          </a:solidFill>
                          <a:latin typeface="+mn-lt"/>
                        </a:rPr>
                        <a:t>Lunch staff</a:t>
                      </a:r>
                    </a:p>
                  </a:txBody>
                  <a:tcPr>
                    <a:lnB w="12700" cap="flat" cmpd="sng" algn="ctr">
                      <a:solidFill>
                        <a:schemeClr val="bg1">
                          <a:lumMod val="50000"/>
                        </a:schemeClr>
                      </a:solidFill>
                      <a:prstDash val="sysDot"/>
                      <a:round/>
                      <a:headEnd type="none" w="med" len="med"/>
                      <a:tailEnd type="none" w="med" len="med"/>
                    </a:lnB>
                    <a:noFill/>
                  </a:tcPr>
                </a:tc>
                <a:tc>
                  <a:txBody>
                    <a:bodyPr/>
                    <a:lstStyle/>
                    <a:p>
                      <a:pPr algn="ctr"/>
                      <a:r>
                        <a:rPr lang="en-US" sz="1100" dirty="0">
                          <a:solidFill>
                            <a:schemeClr val="tx1"/>
                          </a:solidFill>
                          <a:latin typeface="+mn-lt"/>
                        </a:rPr>
                        <a:t>90% </a:t>
                      </a:r>
                    </a:p>
                  </a:txBody>
                  <a:tcPr>
                    <a:lnB w="12700" cap="flat" cmpd="sng" algn="ctr">
                      <a:solidFill>
                        <a:schemeClr val="bg1">
                          <a:lumMod val="50000"/>
                        </a:schemeClr>
                      </a:solidFill>
                      <a:prstDash val="sysDot"/>
                      <a:round/>
                      <a:headEnd type="none" w="med" len="med"/>
                      <a:tailEnd type="none" w="med" len="med"/>
                    </a:lnB>
                    <a:noFill/>
                  </a:tcPr>
                </a:tc>
                <a:extLst>
                  <a:ext uri="{0D108BD9-81ED-4DB2-BD59-A6C34878D82A}">
                    <a16:rowId xmlns:a16="http://schemas.microsoft.com/office/drawing/2014/main" val="1555745167"/>
                  </a:ext>
                </a:extLst>
              </a:tr>
              <a:tr h="877799">
                <a:tc>
                  <a:txBody>
                    <a:bodyPr/>
                    <a:lstStyle/>
                    <a:p>
                      <a:r>
                        <a:rPr lang="en-US" sz="1100" b="1" dirty="0">
                          <a:solidFill>
                            <a:schemeClr val="tx1"/>
                          </a:solidFill>
                          <a:latin typeface="+mn-lt"/>
                        </a:rPr>
                        <a:t>Screening</a:t>
                      </a:r>
                      <a:r>
                        <a:rPr lang="en-US" sz="1100" dirty="0">
                          <a:solidFill>
                            <a:schemeClr val="tx1"/>
                          </a:solidFill>
                          <a:latin typeface="+mn-lt"/>
                        </a:rPr>
                        <a:t>: Students participating in high-risk activities</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algn="ctr"/>
                      <a:r>
                        <a:rPr lang="en-US" sz="1100" dirty="0">
                          <a:solidFill>
                            <a:schemeClr val="tx1"/>
                          </a:solidFill>
                          <a:latin typeface="+mn-lt"/>
                        </a:rPr>
                        <a:t>x2/ week</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algn="l"/>
                      <a:r>
                        <a:rPr lang="en-US" sz="1100" dirty="0">
                          <a:solidFill>
                            <a:schemeClr val="tx1"/>
                          </a:solidFill>
                          <a:latin typeface="+mn-lt"/>
                        </a:rPr>
                        <a:t>Students participating in:</a:t>
                      </a:r>
                    </a:p>
                    <a:p>
                      <a:pPr marL="285750" indent="-285750" algn="l">
                        <a:buFont typeface="Arial" panose="020B0604020202020204" pitchFamily="34" charset="0"/>
                        <a:buChar char="•"/>
                      </a:pPr>
                      <a:r>
                        <a:rPr lang="en-US" sz="1100" dirty="0">
                          <a:solidFill>
                            <a:schemeClr val="tx1"/>
                          </a:solidFill>
                          <a:latin typeface="+mn-lt"/>
                        </a:rPr>
                        <a:t>Contact or indoor sports</a:t>
                      </a:r>
                    </a:p>
                    <a:p>
                      <a:pPr marL="285750" indent="-285750" algn="l">
                        <a:buFont typeface="Arial" panose="020B0604020202020204" pitchFamily="34" charset="0"/>
                        <a:buChar char="•"/>
                      </a:pPr>
                      <a:r>
                        <a:rPr lang="en-US" sz="1100" dirty="0">
                          <a:solidFill>
                            <a:schemeClr val="tx1"/>
                          </a:solidFill>
                          <a:latin typeface="+mn-lt"/>
                        </a:rPr>
                        <a:t>Choir, Cheer, Band, Orchestra, Drama/theater</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algn="ctr"/>
                      <a:r>
                        <a:rPr lang="en-US" sz="1100" dirty="0">
                          <a:solidFill>
                            <a:schemeClr val="tx1"/>
                          </a:solidFill>
                          <a:latin typeface="+mn-lt"/>
                        </a:rPr>
                        <a:t>90%</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extLst>
                  <a:ext uri="{0D108BD9-81ED-4DB2-BD59-A6C34878D82A}">
                    <a16:rowId xmlns:a16="http://schemas.microsoft.com/office/drawing/2014/main" val="19363188"/>
                  </a:ext>
                </a:extLst>
              </a:tr>
              <a:tr h="1274224">
                <a:tc>
                  <a:txBody>
                    <a:bodyPr/>
                    <a:lstStyle/>
                    <a:p>
                      <a:r>
                        <a:rPr lang="en-US" sz="1100" b="1" dirty="0">
                          <a:solidFill>
                            <a:schemeClr val="tx1"/>
                          </a:solidFill>
                          <a:latin typeface="+mn-lt"/>
                        </a:rPr>
                        <a:t>Screening</a:t>
                      </a:r>
                      <a:r>
                        <a:rPr lang="en-US" sz="1100" dirty="0">
                          <a:solidFill>
                            <a:schemeClr val="tx1"/>
                          </a:solidFill>
                          <a:latin typeface="+mn-lt"/>
                        </a:rPr>
                        <a:t>: Students working in high-risk settings or with vulnerable populations</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algn="ctr"/>
                      <a:r>
                        <a:rPr lang="en-US" sz="1100" dirty="0">
                          <a:solidFill>
                            <a:schemeClr val="tx1"/>
                          </a:solidFill>
                          <a:latin typeface="+mn-lt"/>
                        </a:rPr>
                        <a:t>x1/ week </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algn="l"/>
                      <a:r>
                        <a:rPr lang="en-US" sz="1100" dirty="0">
                          <a:solidFill>
                            <a:schemeClr val="tx1"/>
                          </a:solidFill>
                          <a:latin typeface="+mn-lt"/>
                        </a:rPr>
                        <a:t>Students working in (self-select):</a:t>
                      </a:r>
                    </a:p>
                    <a:p>
                      <a:pPr marL="285750" indent="-285750" algn="l">
                        <a:buFont typeface="Arial" panose="020B0604020202020204" pitchFamily="34" charset="0"/>
                        <a:buChar char="•"/>
                      </a:pPr>
                      <a:r>
                        <a:rPr lang="en-US" sz="1100" dirty="0">
                          <a:solidFill>
                            <a:schemeClr val="tx1"/>
                          </a:solidFill>
                          <a:latin typeface="+mn-lt"/>
                        </a:rPr>
                        <a:t>Settings with face-to-face interaction (e.g. grocery stores, food services, retail, etc.)</a:t>
                      </a:r>
                    </a:p>
                    <a:p>
                      <a:pPr marL="285750" indent="-285750" algn="l">
                        <a:buFont typeface="Arial" panose="020B0604020202020204" pitchFamily="34" charset="0"/>
                        <a:buChar char="•"/>
                      </a:pPr>
                      <a:r>
                        <a:rPr lang="en-US" sz="1100" dirty="0">
                          <a:solidFill>
                            <a:schemeClr val="tx1"/>
                          </a:solidFill>
                          <a:latin typeface="+mn-lt"/>
                        </a:rPr>
                        <a:t>Settings with vulnerable populations (e.g. nursing home, hospitals, etc.)</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algn="ctr"/>
                      <a:r>
                        <a:rPr lang="en-US" sz="1100" dirty="0">
                          <a:solidFill>
                            <a:schemeClr val="tx1"/>
                          </a:solidFill>
                          <a:latin typeface="+mn-lt"/>
                        </a:rPr>
                        <a:t>75%</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extLst>
                  <a:ext uri="{0D108BD9-81ED-4DB2-BD59-A6C34878D82A}">
                    <a16:rowId xmlns:a16="http://schemas.microsoft.com/office/drawing/2014/main" val="2709857334"/>
                  </a:ext>
                </a:extLst>
              </a:tr>
              <a:tr h="0">
                <a:tc>
                  <a:txBody>
                    <a:bodyPr/>
                    <a:lstStyle/>
                    <a:p>
                      <a:r>
                        <a:rPr lang="en-US" sz="1100" b="1" dirty="0">
                          <a:solidFill>
                            <a:schemeClr val="tx1"/>
                          </a:solidFill>
                          <a:latin typeface="+mn-lt"/>
                        </a:rPr>
                        <a:t>Diagnostic</a:t>
                      </a:r>
                      <a:r>
                        <a:rPr lang="en-US" sz="1100" dirty="0">
                          <a:solidFill>
                            <a:schemeClr val="tx1"/>
                          </a:solidFill>
                          <a:latin typeface="+mn-lt"/>
                        </a:rPr>
                        <a:t>: Overall student/staff population</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n-lt"/>
                        </a:rPr>
                        <a:t>As needed</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algn="l"/>
                      <a:r>
                        <a:rPr lang="en-US" sz="1100" dirty="0">
                          <a:solidFill>
                            <a:schemeClr val="tx1"/>
                          </a:solidFill>
                          <a:latin typeface="+mn-lt"/>
                        </a:rPr>
                        <a:t>Students or staff that have:</a:t>
                      </a:r>
                    </a:p>
                    <a:p>
                      <a:pPr marL="285750" indent="-285750" algn="l">
                        <a:buFont typeface="Arial" panose="020B0604020202020204" pitchFamily="34" charset="0"/>
                        <a:buChar char="•"/>
                      </a:pPr>
                      <a:r>
                        <a:rPr lang="en-US" sz="1100" dirty="0">
                          <a:solidFill>
                            <a:schemeClr val="tx1"/>
                          </a:solidFill>
                          <a:latin typeface="+mn-lt"/>
                        </a:rPr>
                        <a:t>Symptoms</a:t>
                      </a:r>
                    </a:p>
                    <a:p>
                      <a:pPr marL="285750" indent="-285750" algn="l">
                        <a:buFont typeface="Arial" panose="020B0604020202020204" pitchFamily="34" charset="0"/>
                        <a:buChar char="•"/>
                      </a:pPr>
                      <a:r>
                        <a:rPr lang="en-US" sz="1100" dirty="0">
                          <a:solidFill>
                            <a:schemeClr val="tx1"/>
                          </a:solidFill>
                          <a:latin typeface="+mn-lt"/>
                        </a:rPr>
                        <a:t>Been identified as close contacts</a:t>
                      </a:r>
                    </a:p>
                    <a:p>
                      <a:pPr marL="285750" indent="-285750" algn="l">
                        <a:buFont typeface="Arial" panose="020B0604020202020204" pitchFamily="34" charset="0"/>
                        <a:buChar char="•"/>
                      </a:pPr>
                      <a:r>
                        <a:rPr lang="en-US" sz="1100" dirty="0">
                          <a:solidFill>
                            <a:schemeClr val="tx1"/>
                          </a:solidFill>
                          <a:latin typeface="+mn-lt"/>
                        </a:rPr>
                        <a:t>Participated in high-risk activities</a:t>
                      </a:r>
                    </a:p>
                    <a:p>
                      <a:pPr marL="285750" indent="-285750" algn="l">
                        <a:buFont typeface="Arial" panose="020B0604020202020204" pitchFamily="34" charset="0"/>
                        <a:buChar char="•"/>
                      </a:pPr>
                      <a:r>
                        <a:rPr lang="en-US" sz="1100" dirty="0">
                          <a:solidFill>
                            <a:schemeClr val="tx1"/>
                          </a:solidFill>
                          <a:latin typeface="+mn-lt"/>
                        </a:rPr>
                        <a:t>Requested to be tested</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algn="ctr"/>
                      <a:r>
                        <a:rPr lang="en-US" sz="1100" dirty="0">
                          <a:solidFill>
                            <a:schemeClr val="tx1"/>
                          </a:solidFill>
                          <a:latin typeface="+mn-lt"/>
                        </a:rPr>
                        <a:t>N/A</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extLst>
                  <a:ext uri="{0D108BD9-81ED-4DB2-BD59-A6C34878D82A}">
                    <a16:rowId xmlns:a16="http://schemas.microsoft.com/office/drawing/2014/main" val="3978653583"/>
                  </a:ext>
                </a:extLst>
              </a:tr>
            </a:tbl>
          </a:graphicData>
        </a:graphic>
      </p:graphicFrame>
    </p:spTree>
    <p:extLst>
      <p:ext uri="{BB962C8B-B14F-4D97-AF65-F5344CB8AC3E}">
        <p14:creationId xmlns:p14="http://schemas.microsoft.com/office/powerpoint/2010/main" val="29714263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AB401A-631D-E947-9CB8-7F7A3DBDEBA3}"/>
              </a:ext>
            </a:extLst>
          </p:cNvPr>
          <p:cNvSpPr>
            <a:spLocks noGrp="1"/>
          </p:cNvSpPr>
          <p:nvPr>
            <p:ph type="title"/>
          </p:nvPr>
        </p:nvSpPr>
        <p:spPr>
          <a:xfrm>
            <a:off x="838200" y="762000"/>
            <a:ext cx="10515600" cy="1149351"/>
          </a:xfrm>
        </p:spPr>
        <p:txBody>
          <a:bodyPr>
            <a:normAutofit fontScale="90000"/>
          </a:bodyPr>
          <a:lstStyle/>
          <a:p>
            <a:r>
              <a:rPr lang="en-US" sz="3600" b="1" dirty="0">
                <a:latin typeface="+mn-lt"/>
              </a:rPr>
              <a:t>MS/HS Testing Strategy: </a:t>
            </a:r>
            <a:r>
              <a:rPr lang="en-US" sz="3600" dirty="0">
                <a:latin typeface="+mn-lt"/>
              </a:rPr>
              <a:t>Schools should adjust their </a:t>
            </a:r>
            <a:br>
              <a:rPr lang="en-US" sz="3600" dirty="0">
                <a:latin typeface="+mn-lt"/>
              </a:rPr>
            </a:br>
            <a:r>
              <a:rPr lang="en-US" sz="3600" dirty="0">
                <a:latin typeface="+mn-lt"/>
              </a:rPr>
              <a:t>deployment strategy based on different criteria</a:t>
            </a:r>
            <a:br>
              <a:rPr lang="en-US" altLang="en-US" b="1" dirty="0">
                <a:solidFill>
                  <a:prstClr val="white"/>
                </a:solidFill>
                <a:effectLst>
                  <a:outerShdw blurRad="38100" dist="38100" dir="2700000" algn="tl">
                    <a:srgbClr val="000000">
                      <a:alpha val="43137"/>
                    </a:srgbClr>
                  </a:outerShdw>
                </a:effectLst>
                <a:latin typeface="Open Sans"/>
              </a:rPr>
            </a:br>
            <a:endParaRPr lang="en-US" dirty="0">
              <a:latin typeface="+mn-lt"/>
            </a:endParaRPr>
          </a:p>
        </p:txBody>
      </p:sp>
      <p:graphicFrame>
        <p:nvGraphicFramePr>
          <p:cNvPr id="6" name="Table 6">
            <a:extLst>
              <a:ext uri="{FF2B5EF4-FFF2-40B4-BE49-F238E27FC236}">
                <a16:creationId xmlns:a16="http://schemas.microsoft.com/office/drawing/2014/main" id="{77906432-AC3D-624E-9B8C-CED0AE51D4D8}"/>
              </a:ext>
            </a:extLst>
          </p:cNvPr>
          <p:cNvGraphicFramePr>
            <a:graphicFrameLocks noGrp="1"/>
          </p:cNvGraphicFramePr>
          <p:nvPr/>
        </p:nvGraphicFramePr>
        <p:xfrm>
          <a:off x="762000" y="1524001"/>
          <a:ext cx="9906001" cy="4648201"/>
        </p:xfrm>
        <a:graphic>
          <a:graphicData uri="http://schemas.openxmlformats.org/drawingml/2006/table">
            <a:tbl>
              <a:tblPr firstRow="1" bandRow="1">
                <a:tableStyleId>{5C22544A-7EE6-4342-B048-85BDC9FD1C3A}</a:tableStyleId>
              </a:tblPr>
              <a:tblGrid>
                <a:gridCol w="1898287">
                  <a:extLst>
                    <a:ext uri="{9D8B030D-6E8A-4147-A177-3AD203B41FA5}">
                      <a16:colId xmlns:a16="http://schemas.microsoft.com/office/drawing/2014/main" val="2013461613"/>
                    </a:ext>
                  </a:extLst>
                </a:gridCol>
                <a:gridCol w="2917257">
                  <a:extLst>
                    <a:ext uri="{9D8B030D-6E8A-4147-A177-3AD203B41FA5}">
                      <a16:colId xmlns:a16="http://schemas.microsoft.com/office/drawing/2014/main" val="1245400340"/>
                    </a:ext>
                  </a:extLst>
                </a:gridCol>
                <a:gridCol w="2596011">
                  <a:extLst>
                    <a:ext uri="{9D8B030D-6E8A-4147-A177-3AD203B41FA5}">
                      <a16:colId xmlns:a16="http://schemas.microsoft.com/office/drawing/2014/main" val="3538588824"/>
                    </a:ext>
                  </a:extLst>
                </a:gridCol>
                <a:gridCol w="2494446">
                  <a:extLst>
                    <a:ext uri="{9D8B030D-6E8A-4147-A177-3AD203B41FA5}">
                      <a16:colId xmlns:a16="http://schemas.microsoft.com/office/drawing/2014/main" val="1393761057"/>
                    </a:ext>
                  </a:extLst>
                </a:gridCol>
              </a:tblGrid>
              <a:tr h="366297">
                <a:tc>
                  <a:txBody>
                    <a:bodyPr/>
                    <a:lstStyle/>
                    <a:p>
                      <a:pPr algn="l"/>
                      <a:r>
                        <a:rPr lang="en-US" sz="1100" b="1" dirty="0">
                          <a:solidFill>
                            <a:schemeClr val="tx1"/>
                          </a:solidFill>
                          <a:latin typeface="+mn-lt"/>
                        </a:rPr>
                        <a:t>School Criteria</a:t>
                      </a:r>
                    </a:p>
                  </a:txBody>
                  <a:tcPr anchor="ctr"/>
                </a:tc>
                <a:tc>
                  <a:txBody>
                    <a:bodyPr/>
                    <a:lstStyle/>
                    <a:p>
                      <a:pPr algn="l"/>
                      <a:r>
                        <a:rPr lang="en-US" sz="1100" b="1" dirty="0">
                          <a:solidFill>
                            <a:schemeClr val="tx1"/>
                          </a:solidFill>
                          <a:latin typeface="+mn-lt"/>
                        </a:rPr>
                        <a:t>Testing methods</a:t>
                      </a:r>
                    </a:p>
                  </a:txBody>
                  <a:tcPr anchor="ctr"/>
                </a:tc>
                <a:tc>
                  <a:txBody>
                    <a:bodyPr/>
                    <a:lstStyle/>
                    <a:p>
                      <a:pPr algn="l"/>
                      <a:r>
                        <a:rPr lang="en-US" sz="1100" b="1" dirty="0">
                          <a:solidFill>
                            <a:schemeClr val="tx1"/>
                          </a:solidFill>
                          <a:latin typeface="+mn-lt"/>
                        </a:rPr>
                        <a:t>Admin Support</a:t>
                      </a:r>
                    </a:p>
                  </a:txBody>
                  <a:tcPr anchor="ctr"/>
                </a:tc>
                <a:tc>
                  <a:txBody>
                    <a:bodyPr/>
                    <a:lstStyle/>
                    <a:p>
                      <a:pPr algn="l"/>
                      <a:r>
                        <a:rPr lang="en-US" sz="1100" b="1" dirty="0">
                          <a:solidFill>
                            <a:schemeClr val="tx1"/>
                          </a:solidFill>
                          <a:latin typeface="+mn-lt"/>
                        </a:rPr>
                        <a:t>Other considerations</a:t>
                      </a:r>
                    </a:p>
                  </a:txBody>
                  <a:tcPr anchor="ctr"/>
                </a:tc>
                <a:extLst>
                  <a:ext uri="{0D108BD9-81ED-4DB2-BD59-A6C34878D82A}">
                    <a16:rowId xmlns:a16="http://schemas.microsoft.com/office/drawing/2014/main" val="2517188219"/>
                  </a:ext>
                </a:extLst>
              </a:tr>
              <a:tr h="853365">
                <a:tc>
                  <a:txBody>
                    <a:bodyPr/>
                    <a:lstStyle/>
                    <a:p>
                      <a:r>
                        <a:rPr lang="en-US" sz="1100" dirty="0">
                          <a:solidFill>
                            <a:schemeClr val="tx1"/>
                          </a:solidFill>
                          <a:latin typeface="+mn-lt"/>
                        </a:rPr>
                        <a:t>Schools with &lt; 500 MS/HS students</a:t>
                      </a:r>
                    </a:p>
                  </a:txBody>
                  <a:tcPr>
                    <a:lnB w="12700" cap="flat" cmpd="sng" algn="ctr">
                      <a:solidFill>
                        <a:schemeClr val="bg1">
                          <a:lumMod val="50000"/>
                        </a:schemeClr>
                      </a:solidFill>
                      <a:prstDash val="sysDot"/>
                      <a:round/>
                      <a:headEnd type="none" w="med" len="med"/>
                      <a:tailEnd type="none" w="med" len="med"/>
                    </a:lnB>
                    <a:noFill/>
                  </a:tcPr>
                </a:tc>
                <a:tc>
                  <a:txBody>
                    <a:bodyPr/>
                    <a:lstStyle/>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kumimoji="0" lang="en-US" sz="1100" b="0" i="0" u="none" strike="noStrike" kern="1200" cap="none" spc="0" normalizeH="0" baseline="0" noProof="0" dirty="0">
                          <a:ln>
                            <a:noFill/>
                          </a:ln>
                          <a:solidFill>
                            <a:schemeClr val="tx1"/>
                          </a:solidFill>
                          <a:effectLst/>
                          <a:uLnTx/>
                          <a:uFillTx/>
                          <a:latin typeface="+mn-lt"/>
                          <a:ea typeface="+mn-ea"/>
                          <a:cs typeface="+mn-cs"/>
                        </a:rPr>
                        <a:t>Antigen testing (BinaxNOW)</a:t>
                      </a:r>
                    </a:p>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kumimoji="0" lang="en-US" sz="1100" b="0" i="0" u="none" strike="noStrike" kern="1200" cap="none" spc="0" normalizeH="0" baseline="0" noProof="0" dirty="0">
                          <a:ln>
                            <a:noFill/>
                          </a:ln>
                          <a:solidFill>
                            <a:schemeClr val="tx1"/>
                          </a:solidFill>
                          <a:effectLst/>
                          <a:uLnTx/>
                          <a:uFillTx/>
                          <a:latin typeface="+mn-lt"/>
                          <a:ea typeface="+mn-ea"/>
                          <a:cs typeface="+mn-cs"/>
                        </a:rPr>
                        <a:t>PCR testing (to confirm positive cases in asymptomatic or unexposed, or negative cases in symptomatic)</a:t>
                      </a:r>
                      <a:r>
                        <a:rPr kumimoji="0" lang="en-US" sz="1100" b="0" i="0" u="none" strike="noStrike" kern="1200" cap="none" spc="0" normalizeH="0" baseline="30000" noProof="0" dirty="0">
                          <a:ln>
                            <a:noFill/>
                          </a:ln>
                          <a:solidFill>
                            <a:schemeClr val="tx1"/>
                          </a:solidFill>
                          <a:effectLst/>
                          <a:uLnTx/>
                          <a:uFillTx/>
                          <a:latin typeface="+mn-lt"/>
                          <a:ea typeface="+mn-ea"/>
                          <a:cs typeface="+mn-cs"/>
                        </a:rPr>
                        <a:t>1</a:t>
                      </a:r>
                      <a:endParaRPr lang="en-US" sz="1100" b="0" i="0" u="none" kern="1200" spc="0" baseline="30000" dirty="0">
                        <a:solidFill>
                          <a:schemeClr val="tx1"/>
                        </a:solidFill>
                        <a:latin typeface="+mn-lt"/>
                      </a:endParaRPr>
                    </a:p>
                  </a:txBody>
                  <a:tcPr>
                    <a:lnB w="12700" cap="flat" cmpd="sng" algn="ctr">
                      <a:solidFill>
                        <a:schemeClr val="bg1">
                          <a:lumMod val="50000"/>
                        </a:schemeClr>
                      </a:solidFill>
                      <a:prstDash val="sysDot"/>
                      <a:round/>
                      <a:headEnd type="none" w="med" len="med"/>
                      <a:tailEnd type="none" w="med" len="med"/>
                    </a:lnB>
                    <a:noFill/>
                  </a:tcPr>
                </a:tc>
                <a:tc>
                  <a:txBody>
                    <a:bodyPr/>
                    <a:lstStyle/>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kumimoji="0" lang="en-US" sz="1100" b="0" i="0" u="none" strike="noStrike" kern="1200" cap="none" spc="0" normalizeH="0" baseline="0" noProof="0" dirty="0">
                          <a:ln>
                            <a:noFill/>
                          </a:ln>
                          <a:solidFill>
                            <a:schemeClr val="tx1"/>
                          </a:solidFill>
                          <a:effectLst/>
                          <a:uLnTx/>
                          <a:uFillTx/>
                          <a:latin typeface="+mn-lt"/>
                          <a:ea typeface="+mn-ea"/>
                          <a:cs typeface="+mn-cs"/>
                        </a:rPr>
                        <a:t>School nurses</a:t>
                      </a:r>
                      <a:endParaRPr lang="en-US" sz="1100" b="0" i="0" u="none" kern="1200" spc="0" dirty="0">
                        <a:solidFill>
                          <a:schemeClr val="tx1"/>
                        </a:solidFill>
                        <a:latin typeface="+mn-lt"/>
                      </a:endParaRPr>
                    </a:p>
                  </a:txBody>
                  <a:tcPr>
                    <a:lnB w="12700" cap="flat" cmpd="sng" algn="ctr">
                      <a:solidFill>
                        <a:schemeClr val="bg1">
                          <a:lumMod val="50000"/>
                        </a:schemeClr>
                      </a:solidFill>
                      <a:prstDash val="sysDot"/>
                      <a:round/>
                      <a:headEnd type="none" w="med" len="med"/>
                      <a:tailEnd type="none" w="med" len="med"/>
                    </a:lnB>
                    <a:noFill/>
                  </a:tcPr>
                </a:tc>
                <a:tc>
                  <a:txBody>
                    <a:bodyPr/>
                    <a:lstStyle/>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kumimoji="0" lang="en-US" sz="1100" b="0" i="0" u="none" strike="noStrike" kern="1200" cap="none" spc="0" normalizeH="0" baseline="0" noProof="0" dirty="0">
                          <a:ln>
                            <a:noFill/>
                          </a:ln>
                          <a:solidFill>
                            <a:schemeClr val="tx1"/>
                          </a:solidFill>
                          <a:effectLst/>
                          <a:uLnTx/>
                          <a:uFillTx/>
                          <a:latin typeface="+mn-lt"/>
                          <a:ea typeface="+mn-ea"/>
                          <a:cs typeface="+mn-cs"/>
                        </a:rPr>
                        <a:t>Opportunity to screen larger % of students due to smaller size</a:t>
                      </a:r>
                      <a:endParaRPr lang="en-US" sz="1100" b="0" i="0" u="none" kern="1200" spc="0" dirty="0">
                        <a:solidFill>
                          <a:schemeClr val="tx1"/>
                        </a:solidFill>
                        <a:latin typeface="+mn-lt"/>
                      </a:endParaRPr>
                    </a:p>
                  </a:txBody>
                  <a:tcPr>
                    <a:lnB w="12700" cap="flat" cmpd="sng" algn="ctr">
                      <a:solidFill>
                        <a:schemeClr val="bg1">
                          <a:lumMod val="50000"/>
                        </a:schemeClr>
                      </a:solidFill>
                      <a:prstDash val="sysDot"/>
                      <a:round/>
                      <a:headEnd type="none" w="med" len="med"/>
                      <a:tailEnd type="none" w="med" len="med"/>
                    </a:lnB>
                    <a:noFill/>
                  </a:tcPr>
                </a:tc>
                <a:extLst>
                  <a:ext uri="{0D108BD9-81ED-4DB2-BD59-A6C34878D82A}">
                    <a16:rowId xmlns:a16="http://schemas.microsoft.com/office/drawing/2014/main" val="1555745167"/>
                  </a:ext>
                </a:extLst>
              </a:tr>
              <a:tr h="967024">
                <a:tc>
                  <a:txBody>
                    <a:bodyPr/>
                    <a:lstStyle/>
                    <a:p>
                      <a:r>
                        <a:rPr lang="en-US" sz="1100" dirty="0">
                          <a:solidFill>
                            <a:schemeClr val="tx1"/>
                          </a:solidFill>
                          <a:latin typeface="+mn-lt"/>
                        </a:rPr>
                        <a:t>Schools with between 500-1,000 MS/HS students</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kumimoji="0" lang="en-US" sz="1100" b="0" i="0" u="none" strike="noStrike" kern="1200" cap="none" spc="0" normalizeH="0" baseline="0" noProof="0" dirty="0">
                          <a:ln>
                            <a:noFill/>
                          </a:ln>
                          <a:solidFill>
                            <a:schemeClr val="tx1"/>
                          </a:solidFill>
                          <a:effectLst/>
                          <a:uLnTx/>
                          <a:uFillTx/>
                          <a:latin typeface="+mn-lt"/>
                          <a:ea typeface="+mn-ea"/>
                          <a:cs typeface="+mn-cs"/>
                        </a:rPr>
                        <a:t>Antigen testing (BinaxNOW)</a:t>
                      </a:r>
                    </a:p>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kumimoji="0" lang="en-US" sz="1100" b="0" i="0" u="none" strike="noStrike" kern="1200" cap="none" spc="0" normalizeH="0" baseline="0" noProof="0" dirty="0">
                          <a:ln>
                            <a:noFill/>
                          </a:ln>
                          <a:solidFill>
                            <a:schemeClr val="tx1"/>
                          </a:solidFill>
                          <a:effectLst/>
                          <a:uLnTx/>
                          <a:uFillTx/>
                          <a:latin typeface="+mn-lt"/>
                          <a:ea typeface="+mn-ea"/>
                          <a:cs typeface="+mn-cs"/>
                        </a:rPr>
                        <a:t>PCR testing (to confirm positive cases in asymptomatic or unexposed, or negative cases in symptomatic)</a:t>
                      </a:r>
                      <a:endParaRPr lang="en-US" sz="1100" b="0" i="0" u="none" kern="1200" spc="0" dirty="0">
                        <a:solidFill>
                          <a:schemeClr val="tx1"/>
                        </a:solidFill>
                        <a:latin typeface="+mn-lt"/>
                      </a:endParaRPr>
                    </a:p>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endParaRPr lang="en-US" sz="1100" b="0" i="0" u="none" kern="1200" spc="0" dirty="0">
                        <a:solidFill>
                          <a:schemeClr val="tx1"/>
                        </a:solidFill>
                        <a:latin typeface="+mn-lt"/>
                      </a:endParaRP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kumimoji="0" lang="en-US" sz="1100" b="0" i="0" u="none" strike="noStrike" kern="1200" cap="none" spc="0" normalizeH="0" baseline="0" noProof="0" dirty="0">
                          <a:ln>
                            <a:noFill/>
                          </a:ln>
                          <a:solidFill>
                            <a:schemeClr val="tx1"/>
                          </a:solidFill>
                          <a:effectLst/>
                          <a:uLnTx/>
                          <a:uFillTx/>
                          <a:latin typeface="+mn-lt"/>
                          <a:ea typeface="+mn-ea"/>
                          <a:cs typeface="+mn-cs"/>
                        </a:rPr>
                        <a:t>School nurses</a:t>
                      </a:r>
                    </a:p>
                    <a:p>
                      <a:pPr marL="226800" marR="0" lvl="1" indent="-151200" algn="l" defTabSz="914400" rtl="0" eaLnBrk="1" fontAlgn="auto" latinLnBrk="0" hangingPunct="1">
                        <a:lnSpc>
                          <a:spcPct val="100000"/>
                        </a:lnSpc>
                        <a:spcBef>
                          <a:spcPts val="0"/>
                        </a:spcBef>
                        <a:spcAft>
                          <a:spcPts val="0"/>
                        </a:spcAft>
                        <a:buClr>
                          <a:srgbClr val="051934"/>
                        </a:buClr>
                        <a:buSzPct val="100000"/>
                        <a:buFont typeface="Trebuchet MS" panose="020B0603020202020204" pitchFamily="34" charset="0"/>
                        <a:buChar char="•"/>
                        <a:tabLst/>
                        <a:defRPr/>
                      </a:pPr>
                      <a:r>
                        <a:rPr lang="en-US" sz="1100" b="0" i="0" u="none" kern="1200" spc="0" dirty="0">
                          <a:solidFill>
                            <a:schemeClr val="tx1"/>
                          </a:solidFill>
                          <a:latin typeface="+mn-lt"/>
                        </a:rPr>
                        <a:t>Local hospital or health department resources</a:t>
                      </a:r>
                    </a:p>
                    <a:p>
                      <a:pPr marL="226800" marR="0" lvl="1" indent="-151200" algn="l" defTabSz="914400" rtl="0" eaLnBrk="1" fontAlgn="auto" latinLnBrk="0" hangingPunct="1">
                        <a:lnSpc>
                          <a:spcPct val="100000"/>
                        </a:lnSpc>
                        <a:spcBef>
                          <a:spcPts val="0"/>
                        </a:spcBef>
                        <a:spcAft>
                          <a:spcPts val="0"/>
                        </a:spcAft>
                        <a:buClr>
                          <a:srgbClr val="051934"/>
                        </a:buClr>
                        <a:buSzPct val="100000"/>
                        <a:buFont typeface="Trebuchet MS" panose="020B0603020202020204" pitchFamily="34" charset="0"/>
                        <a:buChar char="•"/>
                        <a:tabLst/>
                        <a:defRPr/>
                      </a:pPr>
                      <a:r>
                        <a:rPr lang="en-US" sz="1100" b="0" i="0" u="none" kern="1200" spc="0" dirty="0">
                          <a:solidFill>
                            <a:schemeClr val="tx1"/>
                          </a:solidFill>
                          <a:latin typeface="+mn-lt"/>
                        </a:rPr>
                        <a:t>EMS / Local nursing students</a:t>
                      </a:r>
                    </a:p>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endParaRPr lang="en-US" sz="1100" b="0" i="0" u="none" kern="1200" spc="0" dirty="0">
                        <a:solidFill>
                          <a:schemeClr val="tx1"/>
                        </a:solidFill>
                        <a:latin typeface="+mn-lt"/>
                      </a:endParaRP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lang="en-US" sz="1100" b="0" i="0" u="none" kern="1200" spc="0" dirty="0">
                          <a:solidFill>
                            <a:schemeClr val="tx1"/>
                          </a:solidFill>
                          <a:latin typeface="+mn-lt"/>
                        </a:rPr>
                        <a:t>N/A</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extLst>
                  <a:ext uri="{0D108BD9-81ED-4DB2-BD59-A6C34878D82A}">
                    <a16:rowId xmlns:a16="http://schemas.microsoft.com/office/drawing/2014/main" val="19363188"/>
                  </a:ext>
                </a:extLst>
              </a:tr>
              <a:tr h="1142846">
                <a:tc>
                  <a:txBody>
                    <a:bodyPr/>
                    <a:lstStyle/>
                    <a:p>
                      <a:r>
                        <a:rPr lang="en-US" sz="1100" dirty="0">
                          <a:solidFill>
                            <a:schemeClr val="tx1"/>
                          </a:solidFill>
                          <a:latin typeface="+mn-lt"/>
                        </a:rPr>
                        <a:t>Schools with 1,000+ MS/HS students</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kumimoji="0" lang="en-US" sz="1100" b="0" i="0" u="none" strike="noStrike" kern="1200" cap="none" spc="0" normalizeH="0" baseline="0" noProof="0" dirty="0">
                          <a:ln>
                            <a:noFill/>
                          </a:ln>
                          <a:solidFill>
                            <a:schemeClr val="tx1"/>
                          </a:solidFill>
                          <a:effectLst/>
                          <a:uLnTx/>
                          <a:uFillTx/>
                          <a:latin typeface="+mn-lt"/>
                          <a:ea typeface="+mn-ea"/>
                          <a:cs typeface="+mn-cs"/>
                        </a:rPr>
                        <a:t>Antigen testing (BinaxNOW)</a:t>
                      </a:r>
                    </a:p>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lang="en-US" sz="1100" b="0" i="0" u="none" kern="1200" spc="0" dirty="0">
                          <a:solidFill>
                            <a:schemeClr val="tx1"/>
                          </a:solidFill>
                          <a:latin typeface="+mn-lt"/>
                        </a:rPr>
                        <a:t>Alternative testing (e.g. mobile vans, at-home kits, etc.) </a:t>
                      </a:r>
                    </a:p>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kumimoji="0" lang="en-US" sz="1100" b="0" i="0" u="none" strike="noStrike" kern="1200" cap="none" spc="0" normalizeH="0" baseline="0" noProof="0" dirty="0">
                          <a:ln>
                            <a:noFill/>
                          </a:ln>
                          <a:solidFill>
                            <a:schemeClr val="tx1"/>
                          </a:solidFill>
                          <a:effectLst/>
                          <a:uLnTx/>
                          <a:uFillTx/>
                          <a:latin typeface="+mn-lt"/>
                          <a:ea typeface="+mn-ea"/>
                          <a:cs typeface="+mn-cs"/>
                        </a:rPr>
                        <a:t>PCR testing (to confirm positive cases in asymptomatic or unexposed, or negative cases in symptomatic)</a:t>
                      </a:r>
                      <a:endParaRPr lang="en-US" sz="1100" b="0" i="0" u="none" kern="1200" spc="0" dirty="0">
                        <a:solidFill>
                          <a:schemeClr val="tx1"/>
                        </a:solidFill>
                        <a:latin typeface="+mn-lt"/>
                      </a:endParaRP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kumimoji="0" lang="en-US" sz="1100" b="0" i="0" u="none" strike="noStrike" kern="1200" cap="none" spc="0" normalizeH="0" baseline="0" noProof="0" dirty="0">
                          <a:ln>
                            <a:noFill/>
                          </a:ln>
                          <a:solidFill>
                            <a:schemeClr val="tx1"/>
                          </a:solidFill>
                          <a:effectLst/>
                          <a:uLnTx/>
                          <a:uFillTx/>
                          <a:latin typeface="+mn-lt"/>
                          <a:ea typeface="+mn-ea"/>
                          <a:cs typeface="+mn-cs"/>
                        </a:rPr>
                        <a:t>School nurses</a:t>
                      </a:r>
                    </a:p>
                    <a:p>
                      <a:pPr marL="226800" marR="0" lvl="1" indent="-151200" algn="l" defTabSz="914400" rtl="0" eaLnBrk="1" fontAlgn="auto" latinLnBrk="0" hangingPunct="1">
                        <a:lnSpc>
                          <a:spcPct val="100000"/>
                        </a:lnSpc>
                        <a:spcBef>
                          <a:spcPts val="0"/>
                        </a:spcBef>
                        <a:spcAft>
                          <a:spcPts val="0"/>
                        </a:spcAft>
                        <a:buClr>
                          <a:srgbClr val="051934"/>
                        </a:buClr>
                        <a:buSzPct val="100000"/>
                        <a:buFont typeface="Trebuchet MS" panose="020B0603020202020204" pitchFamily="34" charset="0"/>
                        <a:buChar char="•"/>
                        <a:tabLst/>
                        <a:defRPr/>
                      </a:pPr>
                      <a:r>
                        <a:rPr lang="en-US" sz="1100" b="0" i="0" u="none" kern="1200" spc="0" dirty="0">
                          <a:solidFill>
                            <a:schemeClr val="tx1"/>
                          </a:solidFill>
                          <a:latin typeface="+mn-lt"/>
                        </a:rPr>
                        <a:t>Local hospital or health department resources</a:t>
                      </a:r>
                    </a:p>
                    <a:p>
                      <a:pPr marL="226800" marR="0" lvl="1" indent="-151200" algn="l" defTabSz="914400" rtl="0" eaLnBrk="1" fontAlgn="auto" latinLnBrk="0" hangingPunct="1">
                        <a:lnSpc>
                          <a:spcPct val="100000"/>
                        </a:lnSpc>
                        <a:spcBef>
                          <a:spcPts val="0"/>
                        </a:spcBef>
                        <a:spcAft>
                          <a:spcPts val="0"/>
                        </a:spcAft>
                        <a:buClr>
                          <a:srgbClr val="051934"/>
                        </a:buClr>
                        <a:buSzPct val="100000"/>
                        <a:buFont typeface="Trebuchet MS" panose="020B0603020202020204" pitchFamily="34" charset="0"/>
                        <a:buChar char="•"/>
                        <a:tabLst/>
                        <a:defRPr/>
                      </a:pPr>
                      <a:r>
                        <a:rPr lang="en-US" sz="1100" b="0" i="0" u="none" kern="1200" spc="0" dirty="0">
                          <a:solidFill>
                            <a:schemeClr val="tx1"/>
                          </a:solidFill>
                          <a:latin typeface="+mn-lt"/>
                        </a:rPr>
                        <a:t>EMS / Local nursing students</a:t>
                      </a:r>
                    </a:p>
                    <a:p>
                      <a:pPr marL="226800" marR="0" lvl="1" indent="-151200" algn="l" defTabSz="914400" rtl="0" eaLnBrk="1" fontAlgn="auto" latinLnBrk="0" hangingPunct="1">
                        <a:lnSpc>
                          <a:spcPct val="100000"/>
                        </a:lnSpc>
                        <a:spcBef>
                          <a:spcPts val="0"/>
                        </a:spcBef>
                        <a:spcAft>
                          <a:spcPts val="0"/>
                        </a:spcAft>
                        <a:buClr>
                          <a:srgbClr val="051934"/>
                        </a:buClr>
                        <a:buSzPct val="100000"/>
                        <a:buFont typeface="Trebuchet MS" panose="020B0603020202020204" pitchFamily="34" charset="0"/>
                        <a:buChar char="•"/>
                        <a:tabLst/>
                        <a:defRPr/>
                      </a:pPr>
                      <a:r>
                        <a:rPr lang="en-US" sz="1100" b="0" i="0" u="none" kern="1200" spc="0" dirty="0">
                          <a:solidFill>
                            <a:schemeClr val="tx1"/>
                          </a:solidFill>
                          <a:latin typeface="+mn-lt"/>
                        </a:rPr>
                        <a:t>Trained volunteers</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kumimoji="0" lang="en-US" sz="1100" b="0" i="0" u="none" strike="noStrike" kern="1200" cap="none" spc="0" normalizeH="0" baseline="0" noProof="0" dirty="0">
                          <a:ln>
                            <a:noFill/>
                          </a:ln>
                          <a:solidFill>
                            <a:schemeClr val="tx1"/>
                          </a:solidFill>
                          <a:effectLst/>
                          <a:uLnTx/>
                          <a:uFillTx/>
                          <a:latin typeface="+mn-lt"/>
                          <a:ea typeface="+mn-ea"/>
                          <a:cs typeface="+mn-cs"/>
                        </a:rPr>
                        <a:t>Explore alternative school models (e.g. block schedules, staggered breaks between classes, etc.) </a:t>
                      </a:r>
                      <a:endParaRPr lang="en-US" sz="1100" b="0" i="0" u="none" kern="1200" spc="0" dirty="0">
                        <a:solidFill>
                          <a:schemeClr val="tx1"/>
                        </a:solidFill>
                        <a:latin typeface="+mn-lt"/>
                      </a:endParaRP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extLst>
                  <a:ext uri="{0D108BD9-81ED-4DB2-BD59-A6C34878D82A}">
                    <a16:rowId xmlns:a16="http://schemas.microsoft.com/office/drawing/2014/main" val="2709857334"/>
                  </a:ext>
                </a:extLst>
              </a:tr>
              <a:tr h="1318669">
                <a:tc>
                  <a:txBody>
                    <a:bodyPr/>
                    <a:lstStyle/>
                    <a:p>
                      <a:r>
                        <a:rPr lang="en-US" sz="1100" dirty="0">
                          <a:solidFill>
                            <a:schemeClr val="tx1"/>
                          </a:solidFill>
                          <a:latin typeface="+mn-lt"/>
                        </a:rPr>
                        <a:t>Schools with joint K-12 campuses</a:t>
                      </a:r>
                    </a:p>
                  </a:txBody>
                  <a:tcPr>
                    <a:lnT w="12700" cap="flat" cmpd="sng" algn="ctr">
                      <a:solidFill>
                        <a:schemeClr val="bg1">
                          <a:lumMod val="50000"/>
                        </a:schemeClr>
                      </a:solidFill>
                      <a:prstDash val="sysDot"/>
                      <a:round/>
                      <a:headEnd type="none" w="med" len="med"/>
                      <a:tailEnd type="none" w="med" len="med"/>
                    </a:lnT>
                    <a:noFill/>
                  </a:tcPr>
                </a:tc>
                <a:tc>
                  <a:txBody>
                    <a:bodyPr/>
                    <a:lstStyle/>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kumimoji="0" lang="en-US" sz="1100" b="0" i="0" u="none" strike="noStrike" kern="1200" cap="none" spc="0" normalizeH="0" baseline="0" noProof="0" dirty="0">
                          <a:ln>
                            <a:noFill/>
                          </a:ln>
                          <a:solidFill>
                            <a:schemeClr val="tx1"/>
                          </a:solidFill>
                          <a:effectLst/>
                          <a:uLnTx/>
                          <a:uFillTx/>
                          <a:latin typeface="+mn-lt"/>
                          <a:ea typeface="+mn-ea"/>
                          <a:cs typeface="+mn-cs"/>
                        </a:rPr>
                        <a:t>Antigen testing (BinaxNOW)</a:t>
                      </a:r>
                    </a:p>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lang="en-US" sz="1100" b="0" i="0" u="none" kern="1200" spc="0" dirty="0">
                          <a:solidFill>
                            <a:schemeClr val="tx1"/>
                          </a:solidFill>
                          <a:latin typeface="+mn-lt"/>
                        </a:rPr>
                        <a:t>Alternative testing (e.g. mobile vans, at-home kits, etc.) </a:t>
                      </a:r>
                    </a:p>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kumimoji="0" lang="en-US" sz="1100" b="0" i="0" u="none" strike="noStrike" kern="1200" cap="none" spc="0" normalizeH="0" baseline="0" noProof="0" dirty="0">
                          <a:ln>
                            <a:noFill/>
                          </a:ln>
                          <a:solidFill>
                            <a:schemeClr val="tx1"/>
                          </a:solidFill>
                          <a:effectLst/>
                          <a:uLnTx/>
                          <a:uFillTx/>
                          <a:latin typeface="+mn-lt"/>
                          <a:ea typeface="+mn-ea"/>
                          <a:cs typeface="+mn-cs"/>
                        </a:rPr>
                        <a:t>PCR testing (to confirm positive cases in asymptomatic or unexposed, or negative cases in symptomatic)</a:t>
                      </a:r>
                      <a:endParaRPr lang="en-US" sz="1100" b="0" i="0" u="none" kern="1200" spc="0" dirty="0">
                        <a:solidFill>
                          <a:schemeClr val="tx1"/>
                        </a:solidFill>
                        <a:latin typeface="+mn-lt"/>
                      </a:endParaRPr>
                    </a:p>
                  </a:txBody>
                  <a:tcPr>
                    <a:lnT w="12700" cap="flat" cmpd="sng" algn="ctr">
                      <a:solidFill>
                        <a:schemeClr val="bg1">
                          <a:lumMod val="50000"/>
                        </a:schemeClr>
                      </a:solidFill>
                      <a:prstDash val="sysDot"/>
                      <a:round/>
                      <a:headEnd type="none" w="med" len="med"/>
                      <a:tailEnd type="none" w="med" len="med"/>
                    </a:lnT>
                    <a:noFill/>
                  </a:tcPr>
                </a:tc>
                <a:tc>
                  <a:txBody>
                    <a:bodyPr/>
                    <a:lstStyle/>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kumimoji="0" lang="en-US" sz="1100" b="0" i="0" u="none" strike="noStrike" kern="1200" cap="none" spc="0" normalizeH="0" baseline="0" noProof="0" dirty="0">
                          <a:ln>
                            <a:noFill/>
                          </a:ln>
                          <a:solidFill>
                            <a:schemeClr val="tx1"/>
                          </a:solidFill>
                          <a:effectLst/>
                          <a:uLnTx/>
                          <a:uFillTx/>
                          <a:latin typeface="+mn-lt"/>
                          <a:ea typeface="+mn-ea"/>
                          <a:cs typeface="+mn-cs"/>
                        </a:rPr>
                        <a:t>School nurses</a:t>
                      </a:r>
                    </a:p>
                    <a:p>
                      <a:pPr marL="226800" marR="0" lvl="1" indent="-151200" algn="l" defTabSz="914400" rtl="0" eaLnBrk="1" fontAlgn="auto" latinLnBrk="0" hangingPunct="1">
                        <a:lnSpc>
                          <a:spcPct val="100000"/>
                        </a:lnSpc>
                        <a:spcBef>
                          <a:spcPts val="0"/>
                        </a:spcBef>
                        <a:spcAft>
                          <a:spcPts val="0"/>
                        </a:spcAft>
                        <a:buClr>
                          <a:srgbClr val="051934"/>
                        </a:buClr>
                        <a:buSzPct val="100000"/>
                        <a:buFont typeface="Trebuchet MS" panose="020B0603020202020204" pitchFamily="34" charset="0"/>
                        <a:buChar char="•"/>
                        <a:tabLst/>
                        <a:defRPr/>
                      </a:pPr>
                      <a:r>
                        <a:rPr lang="en-US" sz="1100" b="0" i="0" u="none" kern="1200" spc="0" dirty="0">
                          <a:solidFill>
                            <a:schemeClr val="tx1"/>
                          </a:solidFill>
                          <a:latin typeface="+mn-lt"/>
                        </a:rPr>
                        <a:t>Local hospital or health department resources</a:t>
                      </a:r>
                    </a:p>
                    <a:p>
                      <a:pPr marL="226800" marR="0" lvl="1" indent="-151200" algn="l" defTabSz="914400" rtl="0" eaLnBrk="1" fontAlgn="auto" latinLnBrk="0" hangingPunct="1">
                        <a:lnSpc>
                          <a:spcPct val="100000"/>
                        </a:lnSpc>
                        <a:spcBef>
                          <a:spcPts val="0"/>
                        </a:spcBef>
                        <a:spcAft>
                          <a:spcPts val="0"/>
                        </a:spcAft>
                        <a:buClr>
                          <a:srgbClr val="051934"/>
                        </a:buClr>
                        <a:buSzPct val="100000"/>
                        <a:buFont typeface="Trebuchet MS" panose="020B0603020202020204" pitchFamily="34" charset="0"/>
                        <a:buChar char="•"/>
                        <a:tabLst/>
                        <a:defRPr/>
                      </a:pPr>
                      <a:r>
                        <a:rPr lang="en-US" sz="1100" b="0" i="0" u="none" kern="1200" spc="0" dirty="0">
                          <a:solidFill>
                            <a:schemeClr val="tx1"/>
                          </a:solidFill>
                          <a:latin typeface="+mn-lt"/>
                        </a:rPr>
                        <a:t>EMS / community college students</a:t>
                      </a:r>
                    </a:p>
                    <a:p>
                      <a:pPr marL="226800" marR="0" lvl="1" indent="-151200" algn="l" defTabSz="914400" rtl="0" eaLnBrk="1" fontAlgn="auto" latinLnBrk="0" hangingPunct="1">
                        <a:lnSpc>
                          <a:spcPct val="100000"/>
                        </a:lnSpc>
                        <a:spcBef>
                          <a:spcPts val="0"/>
                        </a:spcBef>
                        <a:spcAft>
                          <a:spcPts val="0"/>
                        </a:spcAft>
                        <a:buClr>
                          <a:srgbClr val="051934"/>
                        </a:buClr>
                        <a:buSzPct val="100000"/>
                        <a:buFont typeface="Trebuchet MS" panose="020B0603020202020204" pitchFamily="34" charset="0"/>
                        <a:buChar char="•"/>
                        <a:tabLst/>
                        <a:defRPr/>
                      </a:pPr>
                      <a:r>
                        <a:rPr lang="en-US" sz="1100" b="0" i="0" u="none" kern="1200" spc="0" dirty="0">
                          <a:solidFill>
                            <a:schemeClr val="tx1"/>
                          </a:solidFill>
                          <a:latin typeface="+mn-lt"/>
                        </a:rPr>
                        <a:t>Trained volunteers</a:t>
                      </a:r>
                    </a:p>
                  </a:txBody>
                  <a:tcPr>
                    <a:lnT w="12700" cap="flat" cmpd="sng" algn="ctr">
                      <a:solidFill>
                        <a:schemeClr val="bg1">
                          <a:lumMod val="50000"/>
                        </a:schemeClr>
                      </a:solidFill>
                      <a:prstDash val="sysDot"/>
                      <a:round/>
                      <a:headEnd type="none" w="med" len="med"/>
                      <a:tailEnd type="none" w="med" len="med"/>
                    </a:lnT>
                    <a:noFill/>
                  </a:tcPr>
                </a:tc>
                <a:tc>
                  <a:txBody>
                    <a:bodyPr/>
                    <a:lstStyle/>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kumimoji="0" lang="en-US" sz="1100" b="0" i="0" u="none" strike="noStrike" kern="1200" cap="none" spc="0" normalizeH="0" baseline="0" noProof="0" dirty="0">
                          <a:ln>
                            <a:noFill/>
                          </a:ln>
                          <a:solidFill>
                            <a:schemeClr val="tx1"/>
                          </a:solidFill>
                          <a:effectLst/>
                          <a:uLnTx/>
                          <a:uFillTx/>
                          <a:latin typeface="+mn-lt"/>
                          <a:ea typeface="+mn-ea"/>
                          <a:cs typeface="+mn-cs"/>
                        </a:rPr>
                        <a:t>Explore the use of other campus facilities for classroom space (e.g. libraries, auditoriums, etc.)</a:t>
                      </a:r>
                    </a:p>
                    <a:p>
                      <a:pPr marL="226800" lvl="1" indent="-151200" algn="l" defTabSz="914400" rtl="0" eaLnBrk="1" latinLnBrk="0" hangingPunct="1">
                        <a:lnSpc>
                          <a:spcPct val="100000"/>
                        </a:lnSpc>
                        <a:spcBef>
                          <a:spcPts val="0"/>
                        </a:spcBef>
                        <a:spcAft>
                          <a:spcPts val="0"/>
                        </a:spcAft>
                        <a:buClr>
                          <a:srgbClr val="051934"/>
                        </a:buClr>
                        <a:buSzPct val="100000"/>
                        <a:buFont typeface="Trebuchet MS" panose="020B0603020202020204" pitchFamily="34" charset="0"/>
                        <a:buChar char="•"/>
                      </a:pPr>
                      <a:r>
                        <a:rPr kumimoji="0" lang="en-US" sz="1100" b="0" i="0" u="none" strike="noStrike" kern="1200" cap="none" spc="0" normalizeH="0" baseline="0" noProof="0" dirty="0">
                          <a:ln>
                            <a:noFill/>
                          </a:ln>
                          <a:solidFill>
                            <a:schemeClr val="tx1"/>
                          </a:solidFill>
                          <a:effectLst/>
                          <a:uLnTx/>
                          <a:uFillTx/>
                          <a:latin typeface="+mn-lt"/>
                          <a:ea typeface="+mn-ea"/>
                          <a:cs typeface="+mn-cs"/>
                        </a:rPr>
                        <a:t>Consider testing protocol and recommended adherence level  for K-5 to ensure in-line with MS/HS strategy</a:t>
                      </a:r>
                      <a:endParaRPr lang="en-US" sz="1100" b="0" i="0" u="none" kern="1200" spc="0" dirty="0">
                        <a:solidFill>
                          <a:schemeClr val="tx1"/>
                        </a:solidFill>
                        <a:latin typeface="+mn-lt"/>
                      </a:endParaRPr>
                    </a:p>
                  </a:txBody>
                  <a:tcPr>
                    <a:lnT w="12700" cap="flat" cmpd="sng" algn="ctr">
                      <a:solidFill>
                        <a:schemeClr val="bg1">
                          <a:lumMod val="50000"/>
                        </a:schemeClr>
                      </a:solidFill>
                      <a:prstDash val="sysDot"/>
                      <a:round/>
                      <a:headEnd type="none" w="med" len="med"/>
                      <a:tailEnd type="none" w="med" len="med"/>
                    </a:lnT>
                    <a:noFill/>
                  </a:tcPr>
                </a:tc>
                <a:extLst>
                  <a:ext uri="{0D108BD9-81ED-4DB2-BD59-A6C34878D82A}">
                    <a16:rowId xmlns:a16="http://schemas.microsoft.com/office/drawing/2014/main" val="479061686"/>
                  </a:ext>
                </a:extLst>
              </a:tr>
            </a:tbl>
          </a:graphicData>
        </a:graphic>
      </p:graphicFrame>
      <p:grpSp>
        <p:nvGrpSpPr>
          <p:cNvPr id="7" name="Group 6">
            <a:extLst>
              <a:ext uri="{FF2B5EF4-FFF2-40B4-BE49-F238E27FC236}">
                <a16:creationId xmlns:a16="http://schemas.microsoft.com/office/drawing/2014/main" id="{FCF133A7-A6EA-2B49-ADC3-DA2BF1F65355}"/>
              </a:ext>
            </a:extLst>
          </p:cNvPr>
          <p:cNvGrpSpPr>
            <a:grpSpLocks noChangeAspect="1"/>
          </p:cNvGrpSpPr>
          <p:nvPr/>
        </p:nvGrpSpPr>
        <p:grpSpPr>
          <a:xfrm>
            <a:off x="4931934" y="1524046"/>
            <a:ext cx="335171" cy="335171"/>
            <a:chOff x="2507457" y="3543550"/>
            <a:chExt cx="1647825" cy="1647825"/>
          </a:xfrm>
        </p:grpSpPr>
        <p:sp>
          <p:nvSpPr>
            <p:cNvPr id="8" name="AutoShape 122">
              <a:extLst>
                <a:ext uri="{FF2B5EF4-FFF2-40B4-BE49-F238E27FC236}">
                  <a16:creationId xmlns:a16="http://schemas.microsoft.com/office/drawing/2014/main" id="{9E4A446C-A963-4C4B-AD2C-321EBA213D9E}"/>
                </a:ext>
              </a:extLst>
            </p:cNvPr>
            <p:cNvSpPr>
              <a:spLocks noChangeAspect="1" noChangeArrowheads="1" noTextEdit="1"/>
            </p:cNvSpPr>
            <p:nvPr/>
          </p:nvSpPr>
          <p:spPr bwMode="auto">
            <a:xfrm>
              <a:off x="2507457" y="3543550"/>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Calibri"/>
                <a:ea typeface="+mn-ea"/>
                <a:cs typeface="+mn-cs"/>
              </a:endParaRPr>
            </a:p>
          </p:txBody>
        </p:sp>
        <p:sp>
          <p:nvSpPr>
            <p:cNvPr id="9" name="Freeform 125">
              <a:extLst>
                <a:ext uri="{FF2B5EF4-FFF2-40B4-BE49-F238E27FC236}">
                  <a16:creationId xmlns:a16="http://schemas.microsoft.com/office/drawing/2014/main" id="{47E26CAA-AD81-D140-8BF2-DEF8384FC54A}"/>
                </a:ext>
              </a:extLst>
            </p:cNvPr>
            <p:cNvSpPr>
              <a:spLocks noEditPoints="1"/>
            </p:cNvSpPr>
            <p:nvPr/>
          </p:nvSpPr>
          <p:spPr bwMode="auto">
            <a:xfrm>
              <a:off x="3047547" y="3717151"/>
              <a:ext cx="567645" cy="1300624"/>
            </a:xfrm>
            <a:custGeom>
              <a:avLst/>
              <a:gdLst>
                <a:gd name="T0" fmla="*/ 581 w 668"/>
                <a:gd name="T1" fmla="*/ 0 h 1534"/>
                <a:gd name="T2" fmla="*/ 87 w 668"/>
                <a:gd name="T3" fmla="*/ 0 h 1534"/>
                <a:gd name="T4" fmla="*/ 0 w 668"/>
                <a:gd name="T5" fmla="*/ 87 h 1534"/>
                <a:gd name="T6" fmla="*/ 87 w 668"/>
                <a:gd name="T7" fmla="*/ 174 h 1534"/>
                <a:gd name="T8" fmla="*/ 89 w 668"/>
                <a:gd name="T9" fmla="*/ 174 h 1534"/>
                <a:gd name="T10" fmla="*/ 89 w 668"/>
                <a:gd name="T11" fmla="*/ 1289 h 1534"/>
                <a:gd name="T12" fmla="*/ 334 w 668"/>
                <a:gd name="T13" fmla="*/ 1534 h 1534"/>
                <a:gd name="T14" fmla="*/ 579 w 668"/>
                <a:gd name="T15" fmla="*/ 1289 h 1534"/>
                <a:gd name="T16" fmla="*/ 579 w 668"/>
                <a:gd name="T17" fmla="*/ 174 h 1534"/>
                <a:gd name="T18" fmla="*/ 581 w 668"/>
                <a:gd name="T19" fmla="*/ 174 h 1534"/>
                <a:gd name="T20" fmla="*/ 668 w 668"/>
                <a:gd name="T21" fmla="*/ 87 h 1534"/>
                <a:gd name="T22" fmla="*/ 581 w 668"/>
                <a:gd name="T23" fmla="*/ 0 h 1534"/>
                <a:gd name="T24" fmla="*/ 581 w 668"/>
                <a:gd name="T25" fmla="*/ 138 h 1534"/>
                <a:gd name="T26" fmla="*/ 543 w 668"/>
                <a:gd name="T27" fmla="*/ 138 h 1534"/>
                <a:gd name="T28" fmla="*/ 543 w 668"/>
                <a:gd name="T29" fmla="*/ 1289 h 1534"/>
                <a:gd name="T30" fmla="*/ 334 w 668"/>
                <a:gd name="T31" fmla="*/ 1497 h 1534"/>
                <a:gd name="T32" fmla="*/ 334 w 668"/>
                <a:gd name="T33" fmla="*/ 1497 h 1534"/>
                <a:gd name="T34" fmla="*/ 125 w 668"/>
                <a:gd name="T35" fmla="*/ 1289 h 1534"/>
                <a:gd name="T36" fmla="*/ 125 w 668"/>
                <a:gd name="T37" fmla="*/ 138 h 1534"/>
                <a:gd name="T38" fmla="*/ 87 w 668"/>
                <a:gd name="T39" fmla="*/ 138 h 1534"/>
                <a:gd name="T40" fmla="*/ 37 w 668"/>
                <a:gd name="T41" fmla="*/ 87 h 1534"/>
                <a:gd name="T42" fmla="*/ 87 w 668"/>
                <a:gd name="T43" fmla="*/ 37 h 1534"/>
                <a:gd name="T44" fmla="*/ 581 w 668"/>
                <a:gd name="T45" fmla="*/ 37 h 1534"/>
                <a:gd name="T46" fmla="*/ 631 w 668"/>
                <a:gd name="T47" fmla="*/ 87 h 1534"/>
                <a:gd name="T48" fmla="*/ 581 w 668"/>
                <a:gd name="T49" fmla="*/ 138 h 1534"/>
                <a:gd name="T50" fmla="*/ 165 w 668"/>
                <a:gd name="T51" fmla="*/ 766 h 1534"/>
                <a:gd name="T52" fmla="*/ 165 w 668"/>
                <a:gd name="T53" fmla="*/ 1289 h 1534"/>
                <a:gd name="T54" fmla="*/ 334 w 668"/>
                <a:gd name="T55" fmla="*/ 1462 h 1534"/>
                <a:gd name="T56" fmla="*/ 503 w 668"/>
                <a:gd name="T57" fmla="*/ 1289 h 1534"/>
                <a:gd name="T58" fmla="*/ 503 w 668"/>
                <a:gd name="T59" fmla="*/ 766 h 1534"/>
                <a:gd name="T60" fmla="*/ 165 w 668"/>
                <a:gd name="T61" fmla="*/ 766 h 1534"/>
                <a:gd name="T62" fmla="*/ 165 w 668"/>
                <a:gd name="T63" fmla="*/ 766 h 1534"/>
                <a:gd name="T64" fmla="*/ 409 w 668"/>
                <a:gd name="T65" fmla="*/ 898 h 1534"/>
                <a:gd name="T66" fmla="*/ 435 w 668"/>
                <a:gd name="T67" fmla="*/ 925 h 1534"/>
                <a:gd name="T68" fmla="*/ 409 w 668"/>
                <a:gd name="T69" fmla="*/ 951 h 1534"/>
                <a:gd name="T70" fmla="*/ 383 w 668"/>
                <a:gd name="T71" fmla="*/ 925 h 1534"/>
                <a:gd name="T72" fmla="*/ 409 w 668"/>
                <a:gd name="T73" fmla="*/ 898 h 1534"/>
                <a:gd name="T74" fmla="*/ 277 w 668"/>
                <a:gd name="T75" fmla="*/ 1362 h 1534"/>
                <a:gd name="T76" fmla="*/ 219 w 668"/>
                <a:gd name="T77" fmla="*/ 1302 h 1534"/>
                <a:gd name="T78" fmla="*/ 277 w 668"/>
                <a:gd name="T79" fmla="*/ 1243 h 1534"/>
                <a:gd name="T80" fmla="*/ 336 w 668"/>
                <a:gd name="T81" fmla="*/ 1302 h 1534"/>
                <a:gd name="T82" fmla="*/ 277 w 668"/>
                <a:gd name="T83" fmla="*/ 1362 h 1534"/>
                <a:gd name="T84" fmla="*/ 316 w 668"/>
                <a:gd name="T85" fmla="*/ 1008 h 1534"/>
                <a:gd name="T86" fmla="*/ 350 w 668"/>
                <a:gd name="T87" fmla="*/ 974 h 1534"/>
                <a:gd name="T88" fmla="*/ 383 w 668"/>
                <a:gd name="T89" fmla="*/ 1008 h 1534"/>
                <a:gd name="T90" fmla="*/ 350 w 668"/>
                <a:gd name="T91" fmla="*/ 1041 h 1534"/>
                <a:gd name="T92" fmla="*/ 316 w 668"/>
                <a:gd name="T93" fmla="*/ 1008 h 1534"/>
                <a:gd name="T94" fmla="*/ 419 w 668"/>
                <a:gd name="T95" fmla="*/ 1356 h 1534"/>
                <a:gd name="T96" fmla="*/ 391 w 668"/>
                <a:gd name="T97" fmla="*/ 1327 h 1534"/>
                <a:gd name="T98" fmla="*/ 419 w 668"/>
                <a:gd name="T99" fmla="*/ 1299 h 1534"/>
                <a:gd name="T100" fmla="*/ 447 w 668"/>
                <a:gd name="T101" fmla="*/ 1327 h 1534"/>
                <a:gd name="T102" fmla="*/ 419 w 668"/>
                <a:gd name="T103" fmla="*/ 1356 h 1534"/>
                <a:gd name="T104" fmla="*/ 405 w 668"/>
                <a:gd name="T105" fmla="*/ 1209 h 1534"/>
                <a:gd name="T106" fmla="*/ 359 w 668"/>
                <a:gd name="T107" fmla="*/ 1163 h 1534"/>
                <a:gd name="T108" fmla="*/ 405 w 668"/>
                <a:gd name="T109" fmla="*/ 1115 h 1534"/>
                <a:gd name="T110" fmla="*/ 451 w 668"/>
                <a:gd name="T111" fmla="*/ 1163 h 1534"/>
                <a:gd name="T112" fmla="*/ 405 w 668"/>
                <a:gd name="T113" fmla="*/ 1209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8" h="1534">
                  <a:moveTo>
                    <a:pt x="581" y="0"/>
                  </a:moveTo>
                  <a:cubicBezTo>
                    <a:pt x="87" y="0"/>
                    <a:pt x="87" y="0"/>
                    <a:pt x="87" y="0"/>
                  </a:cubicBezTo>
                  <a:cubicBezTo>
                    <a:pt x="39" y="0"/>
                    <a:pt x="0" y="40"/>
                    <a:pt x="0" y="87"/>
                  </a:cubicBezTo>
                  <a:cubicBezTo>
                    <a:pt x="0" y="136"/>
                    <a:pt x="39" y="174"/>
                    <a:pt x="87" y="174"/>
                  </a:cubicBezTo>
                  <a:cubicBezTo>
                    <a:pt x="89" y="174"/>
                    <a:pt x="89" y="174"/>
                    <a:pt x="89" y="174"/>
                  </a:cubicBezTo>
                  <a:cubicBezTo>
                    <a:pt x="89" y="1289"/>
                    <a:pt x="89" y="1289"/>
                    <a:pt x="89" y="1289"/>
                  </a:cubicBezTo>
                  <a:cubicBezTo>
                    <a:pt x="89" y="1423"/>
                    <a:pt x="199" y="1534"/>
                    <a:pt x="334" y="1534"/>
                  </a:cubicBezTo>
                  <a:cubicBezTo>
                    <a:pt x="469" y="1534"/>
                    <a:pt x="579" y="1423"/>
                    <a:pt x="579" y="1289"/>
                  </a:cubicBezTo>
                  <a:cubicBezTo>
                    <a:pt x="579" y="174"/>
                    <a:pt x="579" y="174"/>
                    <a:pt x="579" y="174"/>
                  </a:cubicBezTo>
                  <a:cubicBezTo>
                    <a:pt x="581" y="174"/>
                    <a:pt x="581" y="174"/>
                    <a:pt x="581" y="174"/>
                  </a:cubicBezTo>
                  <a:cubicBezTo>
                    <a:pt x="629" y="174"/>
                    <a:pt x="668" y="136"/>
                    <a:pt x="668" y="87"/>
                  </a:cubicBezTo>
                  <a:cubicBezTo>
                    <a:pt x="668" y="40"/>
                    <a:pt x="629" y="0"/>
                    <a:pt x="581" y="0"/>
                  </a:cubicBezTo>
                  <a:close/>
                  <a:moveTo>
                    <a:pt x="581" y="138"/>
                  </a:moveTo>
                  <a:cubicBezTo>
                    <a:pt x="543" y="138"/>
                    <a:pt x="543" y="138"/>
                    <a:pt x="543" y="138"/>
                  </a:cubicBezTo>
                  <a:cubicBezTo>
                    <a:pt x="543" y="1289"/>
                    <a:pt x="543" y="1289"/>
                    <a:pt x="543" y="1289"/>
                  </a:cubicBezTo>
                  <a:cubicBezTo>
                    <a:pt x="543" y="1403"/>
                    <a:pt x="450" y="1497"/>
                    <a:pt x="334" y="1497"/>
                  </a:cubicBezTo>
                  <a:cubicBezTo>
                    <a:pt x="334" y="1497"/>
                    <a:pt x="334" y="1497"/>
                    <a:pt x="334" y="1497"/>
                  </a:cubicBezTo>
                  <a:cubicBezTo>
                    <a:pt x="218" y="1497"/>
                    <a:pt x="125" y="1403"/>
                    <a:pt x="125" y="1289"/>
                  </a:cubicBezTo>
                  <a:cubicBezTo>
                    <a:pt x="125" y="138"/>
                    <a:pt x="125" y="138"/>
                    <a:pt x="125" y="138"/>
                  </a:cubicBezTo>
                  <a:cubicBezTo>
                    <a:pt x="87" y="138"/>
                    <a:pt x="87" y="138"/>
                    <a:pt x="87" y="138"/>
                  </a:cubicBezTo>
                  <a:cubicBezTo>
                    <a:pt x="59" y="138"/>
                    <a:pt x="37" y="115"/>
                    <a:pt x="37" y="87"/>
                  </a:cubicBezTo>
                  <a:cubicBezTo>
                    <a:pt x="37" y="59"/>
                    <a:pt x="59" y="37"/>
                    <a:pt x="87" y="37"/>
                  </a:cubicBezTo>
                  <a:cubicBezTo>
                    <a:pt x="581" y="37"/>
                    <a:pt x="581" y="37"/>
                    <a:pt x="581" y="37"/>
                  </a:cubicBezTo>
                  <a:cubicBezTo>
                    <a:pt x="609" y="37"/>
                    <a:pt x="631" y="59"/>
                    <a:pt x="631" y="87"/>
                  </a:cubicBezTo>
                  <a:cubicBezTo>
                    <a:pt x="631" y="115"/>
                    <a:pt x="609" y="138"/>
                    <a:pt x="581" y="138"/>
                  </a:cubicBezTo>
                  <a:close/>
                  <a:moveTo>
                    <a:pt x="165" y="766"/>
                  </a:moveTo>
                  <a:cubicBezTo>
                    <a:pt x="165" y="1289"/>
                    <a:pt x="165" y="1289"/>
                    <a:pt x="165" y="1289"/>
                  </a:cubicBezTo>
                  <a:cubicBezTo>
                    <a:pt x="165" y="1385"/>
                    <a:pt x="240" y="1462"/>
                    <a:pt x="334" y="1462"/>
                  </a:cubicBezTo>
                  <a:cubicBezTo>
                    <a:pt x="428" y="1462"/>
                    <a:pt x="503" y="1385"/>
                    <a:pt x="503" y="1289"/>
                  </a:cubicBezTo>
                  <a:cubicBezTo>
                    <a:pt x="503" y="766"/>
                    <a:pt x="503" y="766"/>
                    <a:pt x="503" y="766"/>
                  </a:cubicBezTo>
                  <a:cubicBezTo>
                    <a:pt x="165" y="766"/>
                    <a:pt x="165" y="766"/>
                    <a:pt x="165" y="766"/>
                  </a:cubicBezTo>
                  <a:cubicBezTo>
                    <a:pt x="165" y="766"/>
                    <a:pt x="165" y="766"/>
                    <a:pt x="165" y="766"/>
                  </a:cubicBezTo>
                  <a:close/>
                  <a:moveTo>
                    <a:pt x="409" y="898"/>
                  </a:moveTo>
                  <a:cubicBezTo>
                    <a:pt x="424" y="898"/>
                    <a:pt x="435" y="910"/>
                    <a:pt x="435" y="925"/>
                  </a:cubicBezTo>
                  <a:cubicBezTo>
                    <a:pt x="435" y="939"/>
                    <a:pt x="424" y="951"/>
                    <a:pt x="409" y="951"/>
                  </a:cubicBezTo>
                  <a:cubicBezTo>
                    <a:pt x="394" y="951"/>
                    <a:pt x="383" y="939"/>
                    <a:pt x="383" y="925"/>
                  </a:cubicBezTo>
                  <a:cubicBezTo>
                    <a:pt x="383" y="910"/>
                    <a:pt x="394" y="898"/>
                    <a:pt x="409" y="898"/>
                  </a:cubicBezTo>
                  <a:close/>
                  <a:moveTo>
                    <a:pt x="277" y="1362"/>
                  </a:moveTo>
                  <a:cubicBezTo>
                    <a:pt x="244" y="1362"/>
                    <a:pt x="219" y="1335"/>
                    <a:pt x="219" y="1302"/>
                  </a:cubicBezTo>
                  <a:cubicBezTo>
                    <a:pt x="219" y="1270"/>
                    <a:pt x="244" y="1243"/>
                    <a:pt x="277" y="1243"/>
                  </a:cubicBezTo>
                  <a:cubicBezTo>
                    <a:pt x="309" y="1243"/>
                    <a:pt x="336" y="1270"/>
                    <a:pt x="336" y="1302"/>
                  </a:cubicBezTo>
                  <a:cubicBezTo>
                    <a:pt x="336" y="1335"/>
                    <a:pt x="309" y="1362"/>
                    <a:pt x="277" y="1362"/>
                  </a:cubicBezTo>
                  <a:close/>
                  <a:moveTo>
                    <a:pt x="316" y="1008"/>
                  </a:moveTo>
                  <a:cubicBezTo>
                    <a:pt x="316" y="989"/>
                    <a:pt x="331" y="974"/>
                    <a:pt x="350" y="974"/>
                  </a:cubicBezTo>
                  <a:cubicBezTo>
                    <a:pt x="367" y="974"/>
                    <a:pt x="383" y="989"/>
                    <a:pt x="383" y="1008"/>
                  </a:cubicBezTo>
                  <a:cubicBezTo>
                    <a:pt x="383" y="1026"/>
                    <a:pt x="367" y="1041"/>
                    <a:pt x="350" y="1041"/>
                  </a:cubicBezTo>
                  <a:cubicBezTo>
                    <a:pt x="331" y="1041"/>
                    <a:pt x="316" y="1026"/>
                    <a:pt x="316" y="1008"/>
                  </a:cubicBezTo>
                  <a:close/>
                  <a:moveTo>
                    <a:pt x="419" y="1356"/>
                  </a:moveTo>
                  <a:cubicBezTo>
                    <a:pt x="403" y="1356"/>
                    <a:pt x="391" y="1343"/>
                    <a:pt x="391" y="1327"/>
                  </a:cubicBezTo>
                  <a:cubicBezTo>
                    <a:pt x="391" y="1311"/>
                    <a:pt x="403" y="1299"/>
                    <a:pt x="419" y="1299"/>
                  </a:cubicBezTo>
                  <a:cubicBezTo>
                    <a:pt x="434" y="1299"/>
                    <a:pt x="447" y="1311"/>
                    <a:pt x="447" y="1327"/>
                  </a:cubicBezTo>
                  <a:cubicBezTo>
                    <a:pt x="447" y="1343"/>
                    <a:pt x="434" y="1356"/>
                    <a:pt x="419" y="1356"/>
                  </a:cubicBezTo>
                  <a:close/>
                  <a:moveTo>
                    <a:pt x="405" y="1209"/>
                  </a:moveTo>
                  <a:cubicBezTo>
                    <a:pt x="379" y="1209"/>
                    <a:pt x="359" y="1188"/>
                    <a:pt x="359" y="1163"/>
                  </a:cubicBezTo>
                  <a:cubicBezTo>
                    <a:pt x="359" y="1136"/>
                    <a:pt x="379" y="1115"/>
                    <a:pt x="405" y="1115"/>
                  </a:cubicBezTo>
                  <a:cubicBezTo>
                    <a:pt x="430" y="1115"/>
                    <a:pt x="451" y="1136"/>
                    <a:pt x="451" y="1163"/>
                  </a:cubicBezTo>
                  <a:cubicBezTo>
                    <a:pt x="451" y="1188"/>
                    <a:pt x="430" y="1209"/>
                    <a:pt x="405" y="120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Calibri"/>
                <a:ea typeface="+mn-ea"/>
                <a:cs typeface="+mn-cs"/>
              </a:endParaRPr>
            </a:p>
          </p:txBody>
        </p:sp>
      </p:grpSp>
      <p:grpSp>
        <p:nvGrpSpPr>
          <p:cNvPr id="10" name="Group 9">
            <a:extLst>
              <a:ext uri="{FF2B5EF4-FFF2-40B4-BE49-F238E27FC236}">
                <a16:creationId xmlns:a16="http://schemas.microsoft.com/office/drawing/2014/main" id="{43D543D4-D999-1A4C-A4BD-E55002AE29B5}"/>
              </a:ext>
            </a:extLst>
          </p:cNvPr>
          <p:cNvGrpSpPr>
            <a:grpSpLocks noChangeAspect="1"/>
          </p:cNvGrpSpPr>
          <p:nvPr/>
        </p:nvGrpSpPr>
        <p:grpSpPr>
          <a:xfrm>
            <a:off x="7606528" y="1541630"/>
            <a:ext cx="335171" cy="335171"/>
            <a:chOff x="5273675" y="2606675"/>
            <a:chExt cx="1646238" cy="1646238"/>
          </a:xfrm>
        </p:grpSpPr>
        <p:sp>
          <p:nvSpPr>
            <p:cNvPr id="11" name="AutoShape 3">
              <a:extLst>
                <a:ext uri="{FF2B5EF4-FFF2-40B4-BE49-F238E27FC236}">
                  <a16:creationId xmlns:a16="http://schemas.microsoft.com/office/drawing/2014/main" id="{769B0501-FE60-2345-910D-21216CB9835C}"/>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Calibri"/>
                <a:ea typeface="+mn-ea"/>
                <a:cs typeface="+mn-cs"/>
              </a:endParaRPr>
            </a:p>
          </p:txBody>
        </p:sp>
        <p:sp>
          <p:nvSpPr>
            <p:cNvPr id="12" name="Freeform 16">
              <a:extLst>
                <a:ext uri="{FF2B5EF4-FFF2-40B4-BE49-F238E27FC236}">
                  <a16:creationId xmlns:a16="http://schemas.microsoft.com/office/drawing/2014/main" id="{1474835E-7484-C841-9757-40123A808AC4}"/>
                </a:ext>
              </a:extLst>
            </p:cNvPr>
            <p:cNvSpPr>
              <a:spLocks/>
            </p:cNvSpPr>
            <p:nvPr/>
          </p:nvSpPr>
          <p:spPr bwMode="auto">
            <a:xfrm>
              <a:off x="5454175" y="2800350"/>
              <a:ext cx="1283708" cy="1206501"/>
            </a:xfrm>
            <a:custGeom>
              <a:avLst/>
              <a:gdLst>
                <a:gd name="connsiteX0" fmla="*/ 952182 w 1283708"/>
                <a:gd name="connsiteY0" fmla="*/ 1065213 h 1206501"/>
                <a:gd name="connsiteX1" fmla="*/ 984726 w 1283708"/>
                <a:gd name="connsiteY1" fmla="*/ 1097757 h 1206501"/>
                <a:gd name="connsiteX2" fmla="*/ 952182 w 1283708"/>
                <a:gd name="connsiteY2" fmla="*/ 1130301 h 1206501"/>
                <a:gd name="connsiteX3" fmla="*/ 919638 w 1283708"/>
                <a:gd name="connsiteY3" fmla="*/ 1097757 h 1206501"/>
                <a:gd name="connsiteX4" fmla="*/ 952182 w 1283708"/>
                <a:gd name="connsiteY4" fmla="*/ 1065213 h 1206501"/>
                <a:gd name="connsiteX5" fmla="*/ 877762 w 1283708"/>
                <a:gd name="connsiteY5" fmla="*/ 912813 h 1206501"/>
                <a:gd name="connsiteX6" fmla="*/ 911989 w 1283708"/>
                <a:gd name="connsiteY6" fmla="*/ 914952 h 1206501"/>
                <a:gd name="connsiteX7" fmla="*/ 939799 w 1283708"/>
                <a:gd name="connsiteY7" fmla="*/ 1032569 h 1206501"/>
                <a:gd name="connsiteX8" fmla="*/ 884893 w 1283708"/>
                <a:gd name="connsiteY8" fmla="*/ 1097437 h 1206501"/>
                <a:gd name="connsiteX9" fmla="*/ 958339 w 1283708"/>
                <a:gd name="connsiteY9" fmla="*/ 1163018 h 1206501"/>
                <a:gd name="connsiteX10" fmla="*/ 1016810 w 1283708"/>
                <a:gd name="connsiteY10" fmla="*/ 1105279 h 1206501"/>
                <a:gd name="connsiteX11" fmla="*/ 964756 w 1283708"/>
                <a:gd name="connsiteY11" fmla="*/ 1032569 h 1206501"/>
                <a:gd name="connsiteX12" fmla="*/ 942651 w 1283708"/>
                <a:gd name="connsiteY12" fmla="*/ 917090 h 1206501"/>
                <a:gd name="connsiteX13" fmla="*/ 1127336 w 1283708"/>
                <a:gd name="connsiteY13" fmla="*/ 959147 h 1206501"/>
                <a:gd name="connsiteX14" fmla="*/ 1282785 w 1283708"/>
                <a:gd name="connsiteY14" fmla="*/ 1185116 h 1206501"/>
                <a:gd name="connsiteX15" fmla="*/ 1267810 w 1283708"/>
                <a:gd name="connsiteY15" fmla="*/ 1206501 h 1206501"/>
                <a:gd name="connsiteX16" fmla="*/ 549750 w 1283708"/>
                <a:gd name="connsiteY16" fmla="*/ 1206501 h 1206501"/>
                <a:gd name="connsiteX17" fmla="*/ 877762 w 1283708"/>
                <a:gd name="connsiteY17" fmla="*/ 912813 h 1206501"/>
                <a:gd name="connsiteX18" fmla="*/ 433181 w 1283708"/>
                <a:gd name="connsiteY18" fmla="*/ 911225 h 1206501"/>
                <a:gd name="connsiteX19" fmla="*/ 613250 w 1283708"/>
                <a:gd name="connsiteY19" fmla="*/ 1116634 h 1206501"/>
                <a:gd name="connsiteX20" fmla="*/ 512497 w 1283708"/>
                <a:gd name="connsiteY20" fmla="*/ 1206500 h 1206501"/>
                <a:gd name="connsiteX21" fmla="*/ 15878 w 1283708"/>
                <a:gd name="connsiteY21" fmla="*/ 1206500 h 1206501"/>
                <a:gd name="connsiteX22" fmla="*/ 873 w 1283708"/>
                <a:gd name="connsiteY22" fmla="*/ 1185103 h 1206501"/>
                <a:gd name="connsiteX23" fmla="*/ 156646 w 1283708"/>
                <a:gd name="connsiteY23" fmla="*/ 958298 h 1206501"/>
                <a:gd name="connsiteX24" fmla="*/ 365298 w 1283708"/>
                <a:gd name="connsiteY24" fmla="*/ 914078 h 1206501"/>
                <a:gd name="connsiteX25" fmla="*/ 349577 w 1283708"/>
                <a:gd name="connsiteY25" fmla="*/ 958298 h 1206501"/>
                <a:gd name="connsiteX26" fmla="*/ 280980 w 1283708"/>
                <a:gd name="connsiteY26" fmla="*/ 988253 h 1206501"/>
                <a:gd name="connsiteX27" fmla="*/ 232390 w 1283708"/>
                <a:gd name="connsiteY27" fmla="*/ 1151582 h 1206501"/>
                <a:gd name="connsiteX28" fmla="*/ 244537 w 1283708"/>
                <a:gd name="connsiteY28" fmla="*/ 1162993 h 1206501"/>
                <a:gd name="connsiteX29" fmla="*/ 268118 w 1283708"/>
                <a:gd name="connsiteY29" fmla="*/ 1162993 h 1206501"/>
                <a:gd name="connsiteX30" fmla="*/ 280980 w 1283708"/>
                <a:gd name="connsiteY30" fmla="*/ 1149442 h 1206501"/>
                <a:gd name="connsiteX31" fmla="*/ 267403 w 1283708"/>
                <a:gd name="connsiteY31" fmla="*/ 1138744 h 1206501"/>
                <a:gd name="connsiteX32" fmla="*/ 256685 w 1283708"/>
                <a:gd name="connsiteY32" fmla="*/ 1138744 h 1206501"/>
                <a:gd name="connsiteX33" fmla="*/ 298844 w 1283708"/>
                <a:gd name="connsiteY33" fmla="*/ 1006084 h 1206501"/>
                <a:gd name="connsiteX34" fmla="*/ 355294 w 1283708"/>
                <a:gd name="connsiteY34" fmla="*/ 982548 h 1206501"/>
                <a:gd name="connsiteX35" fmla="*/ 361725 w 1283708"/>
                <a:gd name="connsiteY35" fmla="*/ 982548 h 1206501"/>
                <a:gd name="connsiteX36" fmla="*/ 408171 w 1283708"/>
                <a:gd name="connsiteY36" fmla="*/ 1005371 h 1206501"/>
                <a:gd name="connsiteX37" fmla="*/ 436754 w 1283708"/>
                <a:gd name="connsiteY37" fmla="*/ 1138744 h 1206501"/>
                <a:gd name="connsiteX38" fmla="*/ 416746 w 1283708"/>
                <a:gd name="connsiteY38" fmla="*/ 1138744 h 1206501"/>
                <a:gd name="connsiteX39" fmla="*/ 404598 w 1283708"/>
                <a:gd name="connsiteY39" fmla="*/ 1152295 h 1206501"/>
                <a:gd name="connsiteX40" fmla="*/ 417461 w 1283708"/>
                <a:gd name="connsiteY40" fmla="*/ 1162993 h 1206501"/>
                <a:gd name="connsiteX41" fmla="*/ 448187 w 1283708"/>
                <a:gd name="connsiteY41" fmla="*/ 1162993 h 1206501"/>
                <a:gd name="connsiteX42" fmla="*/ 460334 w 1283708"/>
                <a:gd name="connsiteY42" fmla="*/ 1152295 h 1206501"/>
                <a:gd name="connsiteX43" fmla="*/ 426750 w 1283708"/>
                <a:gd name="connsiteY43" fmla="*/ 988967 h 1206501"/>
                <a:gd name="connsiteX44" fmla="*/ 374587 w 1283708"/>
                <a:gd name="connsiteY44" fmla="*/ 959724 h 1206501"/>
                <a:gd name="connsiteX45" fmla="*/ 396024 w 1283708"/>
                <a:gd name="connsiteY45" fmla="*/ 912652 h 1206501"/>
                <a:gd name="connsiteX46" fmla="*/ 433181 w 1283708"/>
                <a:gd name="connsiteY46" fmla="*/ 911225 h 1206501"/>
                <a:gd name="connsiteX47" fmla="*/ 300513 w 1283708"/>
                <a:gd name="connsiteY47" fmla="*/ 520700 h 1206501"/>
                <a:gd name="connsiteX48" fmla="*/ 336959 w 1283708"/>
                <a:gd name="connsiteY48" fmla="*/ 537845 h 1206501"/>
                <a:gd name="connsiteX49" fmla="*/ 369831 w 1283708"/>
                <a:gd name="connsiteY49" fmla="*/ 575707 h 1206501"/>
                <a:gd name="connsiteX50" fmla="*/ 377692 w 1283708"/>
                <a:gd name="connsiteY50" fmla="*/ 584280 h 1206501"/>
                <a:gd name="connsiteX51" fmla="*/ 479884 w 1283708"/>
                <a:gd name="connsiteY51" fmla="*/ 800021 h 1206501"/>
                <a:gd name="connsiteX52" fmla="*/ 641389 w 1283708"/>
                <a:gd name="connsiteY52" fmla="*/ 880745 h 1206501"/>
                <a:gd name="connsiteX53" fmla="*/ 802895 w 1283708"/>
                <a:gd name="connsiteY53" fmla="*/ 800021 h 1206501"/>
                <a:gd name="connsiteX54" fmla="*/ 905086 w 1283708"/>
                <a:gd name="connsiteY54" fmla="*/ 584280 h 1206501"/>
                <a:gd name="connsiteX55" fmla="*/ 912233 w 1283708"/>
                <a:gd name="connsiteY55" fmla="*/ 575707 h 1206501"/>
                <a:gd name="connsiteX56" fmla="*/ 945105 w 1283708"/>
                <a:gd name="connsiteY56" fmla="*/ 537845 h 1206501"/>
                <a:gd name="connsiteX57" fmla="*/ 981551 w 1283708"/>
                <a:gd name="connsiteY57" fmla="*/ 520700 h 1206501"/>
                <a:gd name="connsiteX58" fmla="*/ 981551 w 1283708"/>
                <a:gd name="connsiteY58" fmla="*/ 522843 h 1206501"/>
                <a:gd name="connsiteX59" fmla="*/ 932242 w 1283708"/>
                <a:gd name="connsiteY59" fmla="*/ 600710 h 1206501"/>
                <a:gd name="connsiteX60" fmla="*/ 830051 w 1283708"/>
                <a:gd name="connsiteY60" fmla="*/ 816451 h 1206501"/>
                <a:gd name="connsiteX61" fmla="*/ 830051 w 1283708"/>
                <a:gd name="connsiteY61" fmla="*/ 886460 h 1206501"/>
                <a:gd name="connsiteX62" fmla="*/ 825048 w 1283708"/>
                <a:gd name="connsiteY62" fmla="*/ 893604 h 1206501"/>
                <a:gd name="connsiteX63" fmla="*/ 798607 w 1283708"/>
                <a:gd name="connsiteY63" fmla="*/ 920750 h 1206501"/>
                <a:gd name="connsiteX64" fmla="*/ 798607 w 1283708"/>
                <a:gd name="connsiteY64" fmla="*/ 842883 h 1206501"/>
                <a:gd name="connsiteX65" fmla="*/ 641389 w 1283708"/>
                <a:gd name="connsiteY65" fmla="*/ 912178 h 1206501"/>
                <a:gd name="connsiteX66" fmla="*/ 484171 w 1283708"/>
                <a:gd name="connsiteY66" fmla="*/ 842883 h 1206501"/>
                <a:gd name="connsiteX67" fmla="*/ 484171 w 1283708"/>
                <a:gd name="connsiteY67" fmla="*/ 920750 h 1206501"/>
                <a:gd name="connsiteX68" fmla="*/ 458445 w 1283708"/>
                <a:gd name="connsiteY68" fmla="*/ 893604 h 1206501"/>
                <a:gd name="connsiteX69" fmla="*/ 452728 w 1283708"/>
                <a:gd name="connsiteY69" fmla="*/ 886460 h 1206501"/>
                <a:gd name="connsiteX70" fmla="*/ 452728 w 1283708"/>
                <a:gd name="connsiteY70" fmla="*/ 816451 h 1206501"/>
                <a:gd name="connsiteX71" fmla="*/ 350537 w 1283708"/>
                <a:gd name="connsiteY71" fmla="*/ 600710 h 1206501"/>
                <a:gd name="connsiteX72" fmla="*/ 301227 w 1283708"/>
                <a:gd name="connsiteY72" fmla="*/ 524272 h 1206501"/>
                <a:gd name="connsiteX73" fmla="*/ 300513 w 1283708"/>
                <a:gd name="connsiteY73" fmla="*/ 520700 h 1206501"/>
                <a:gd name="connsiteX74" fmla="*/ 699848 w 1283708"/>
                <a:gd name="connsiteY74" fmla="*/ 0 h 1206501"/>
                <a:gd name="connsiteX75" fmla="*/ 674820 w 1283708"/>
                <a:gd name="connsiteY75" fmla="*/ 17188 h 1206501"/>
                <a:gd name="connsiteX76" fmla="*/ 829995 w 1283708"/>
                <a:gd name="connsiteY76" fmla="*/ 20053 h 1206501"/>
                <a:gd name="connsiteX77" fmla="*/ 798531 w 1283708"/>
                <a:gd name="connsiteY77" fmla="*/ 35093 h 1206501"/>
                <a:gd name="connsiteX78" fmla="*/ 935828 w 1283708"/>
                <a:gd name="connsiteY78" fmla="*/ 65172 h 1206501"/>
                <a:gd name="connsiteX79" fmla="*/ 909370 w 1283708"/>
                <a:gd name="connsiteY79" fmla="*/ 71618 h 1206501"/>
                <a:gd name="connsiteX80" fmla="*/ 1018063 w 1283708"/>
                <a:gd name="connsiteY80" fmla="*/ 158992 h 1206501"/>
                <a:gd name="connsiteX81" fmla="*/ 975158 w 1283708"/>
                <a:gd name="connsiteY81" fmla="*/ 146101 h 1206501"/>
                <a:gd name="connsiteX82" fmla="*/ 1012342 w 1283708"/>
                <a:gd name="connsiteY82" fmla="*/ 212706 h 1206501"/>
                <a:gd name="connsiteX83" fmla="*/ 957281 w 1283708"/>
                <a:gd name="connsiteY83" fmla="*/ 178329 h 1206501"/>
                <a:gd name="connsiteX84" fmla="*/ 919381 w 1283708"/>
                <a:gd name="connsiteY84" fmla="*/ 173316 h 1206501"/>
                <a:gd name="connsiteX85" fmla="*/ 983739 w 1283708"/>
                <a:gd name="connsiteY85" fmla="*/ 370266 h 1206501"/>
                <a:gd name="connsiteX86" fmla="*/ 971582 w 1283708"/>
                <a:gd name="connsiteY86" fmla="*/ 483423 h 1206501"/>
                <a:gd name="connsiteX87" fmla="*/ 970867 w 1283708"/>
                <a:gd name="connsiteY87" fmla="*/ 482707 h 1206501"/>
                <a:gd name="connsiteX88" fmla="*/ 932967 w 1283708"/>
                <a:gd name="connsiteY88" fmla="*/ 534988 h 1206501"/>
                <a:gd name="connsiteX89" fmla="*/ 907224 w 1283708"/>
                <a:gd name="connsiteY89" fmla="*/ 534988 h 1206501"/>
                <a:gd name="connsiteX90" fmla="*/ 904364 w 1283708"/>
                <a:gd name="connsiteY90" fmla="*/ 288621 h 1206501"/>
                <a:gd name="connsiteX91" fmla="*/ 666238 w 1283708"/>
                <a:gd name="connsiteY91" fmla="*/ 439736 h 1206501"/>
                <a:gd name="connsiteX92" fmla="*/ 694127 w 1283708"/>
                <a:gd name="connsiteY92" fmla="*/ 370982 h 1206501"/>
                <a:gd name="connsiteX93" fmla="*/ 696272 w 1283708"/>
                <a:gd name="connsiteY93" fmla="*/ 365253 h 1206501"/>
                <a:gd name="connsiteX94" fmla="*/ 691267 w 1283708"/>
                <a:gd name="connsiteY94" fmla="*/ 370982 h 1206501"/>
                <a:gd name="connsiteX95" fmla="*/ 518215 w 1283708"/>
                <a:gd name="connsiteY95" fmla="*/ 402494 h 1206501"/>
                <a:gd name="connsiteX96" fmla="*/ 587579 w 1283708"/>
                <a:gd name="connsiteY96" fmla="*/ 348064 h 1206501"/>
                <a:gd name="connsiteX97" fmla="*/ 591154 w 1283708"/>
                <a:gd name="connsiteY97" fmla="*/ 345200 h 1206501"/>
                <a:gd name="connsiteX98" fmla="*/ 586863 w 1283708"/>
                <a:gd name="connsiteY98" fmla="*/ 348064 h 1206501"/>
                <a:gd name="connsiteX99" fmla="*/ 423823 w 1283708"/>
                <a:gd name="connsiteY99" fmla="*/ 373847 h 1206501"/>
                <a:gd name="connsiteX100" fmla="*/ 484606 w 1283708"/>
                <a:gd name="connsiteY100" fmla="*/ 314404 h 1206501"/>
                <a:gd name="connsiteX101" fmla="*/ 458147 w 1283708"/>
                <a:gd name="connsiteY101" fmla="*/ 303661 h 1206501"/>
                <a:gd name="connsiteX102" fmla="*/ 375197 w 1283708"/>
                <a:gd name="connsiteY102" fmla="*/ 530691 h 1206501"/>
                <a:gd name="connsiteX103" fmla="*/ 352314 w 1283708"/>
                <a:gd name="connsiteY103" fmla="*/ 528543 h 1206501"/>
                <a:gd name="connsiteX104" fmla="*/ 317990 w 1283708"/>
                <a:gd name="connsiteY104" fmla="*/ 487720 h 1206501"/>
                <a:gd name="connsiteX105" fmla="*/ 317990 w 1283708"/>
                <a:gd name="connsiteY105" fmla="*/ 487004 h 1206501"/>
                <a:gd name="connsiteX106" fmla="*/ 305118 w 1283708"/>
                <a:gd name="connsiteY106" fmla="*/ 370266 h 1206501"/>
                <a:gd name="connsiteX107" fmla="*/ 528941 w 1283708"/>
                <a:gd name="connsiteY107" fmla="*/ 54430 h 1206501"/>
                <a:gd name="connsiteX108" fmla="*/ 699848 w 1283708"/>
                <a:gd name="connsiteY108" fmla="*/ 0 h 120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283708" h="1206501">
                  <a:moveTo>
                    <a:pt x="952182" y="1065213"/>
                  </a:moveTo>
                  <a:cubicBezTo>
                    <a:pt x="970156" y="1065213"/>
                    <a:pt x="984726" y="1079783"/>
                    <a:pt x="984726" y="1097757"/>
                  </a:cubicBezTo>
                  <a:cubicBezTo>
                    <a:pt x="984726" y="1115731"/>
                    <a:pt x="970156" y="1130301"/>
                    <a:pt x="952182" y="1130301"/>
                  </a:cubicBezTo>
                  <a:cubicBezTo>
                    <a:pt x="934208" y="1130301"/>
                    <a:pt x="919638" y="1115731"/>
                    <a:pt x="919638" y="1097757"/>
                  </a:cubicBezTo>
                  <a:cubicBezTo>
                    <a:pt x="919638" y="1079783"/>
                    <a:pt x="934208" y="1065213"/>
                    <a:pt x="952182" y="1065213"/>
                  </a:cubicBezTo>
                  <a:close/>
                  <a:moveTo>
                    <a:pt x="877762" y="912813"/>
                  </a:moveTo>
                  <a:cubicBezTo>
                    <a:pt x="887032" y="912813"/>
                    <a:pt x="898441" y="913526"/>
                    <a:pt x="911989" y="914952"/>
                  </a:cubicBezTo>
                  <a:cubicBezTo>
                    <a:pt x="941938" y="953445"/>
                    <a:pt x="939799" y="1026867"/>
                    <a:pt x="939799" y="1032569"/>
                  </a:cubicBezTo>
                  <a:cubicBezTo>
                    <a:pt x="909137" y="1037559"/>
                    <a:pt x="884893" y="1064647"/>
                    <a:pt x="884893" y="1097437"/>
                  </a:cubicBezTo>
                  <a:cubicBezTo>
                    <a:pt x="884893" y="1135930"/>
                    <a:pt x="919120" y="1167295"/>
                    <a:pt x="958339" y="1163018"/>
                  </a:cubicBezTo>
                  <a:cubicBezTo>
                    <a:pt x="989001" y="1159454"/>
                    <a:pt x="1013245" y="1135218"/>
                    <a:pt x="1016810" y="1105279"/>
                  </a:cubicBezTo>
                  <a:cubicBezTo>
                    <a:pt x="1020376" y="1069637"/>
                    <a:pt x="996844" y="1039698"/>
                    <a:pt x="964756" y="1032569"/>
                  </a:cubicBezTo>
                  <a:cubicBezTo>
                    <a:pt x="964756" y="1024015"/>
                    <a:pt x="966182" y="962712"/>
                    <a:pt x="942651" y="917090"/>
                  </a:cubicBezTo>
                  <a:cubicBezTo>
                    <a:pt x="1001836" y="923506"/>
                    <a:pt x="1075995" y="934911"/>
                    <a:pt x="1127336" y="959147"/>
                  </a:cubicBezTo>
                  <a:cubicBezTo>
                    <a:pt x="1205773" y="994789"/>
                    <a:pt x="1263532" y="1132366"/>
                    <a:pt x="1282785" y="1185116"/>
                  </a:cubicBezTo>
                  <a:cubicBezTo>
                    <a:pt x="1286350" y="1195096"/>
                    <a:pt x="1279220" y="1206501"/>
                    <a:pt x="1267810" y="1206501"/>
                  </a:cubicBezTo>
                  <a:cubicBezTo>
                    <a:pt x="1267810" y="1206501"/>
                    <a:pt x="1267810" y="1206501"/>
                    <a:pt x="549750" y="1206501"/>
                  </a:cubicBezTo>
                  <a:cubicBezTo>
                    <a:pt x="549750" y="1206501"/>
                    <a:pt x="876336" y="912813"/>
                    <a:pt x="877762" y="912813"/>
                  </a:cubicBezTo>
                  <a:close/>
                  <a:moveTo>
                    <a:pt x="433181" y="911225"/>
                  </a:moveTo>
                  <a:cubicBezTo>
                    <a:pt x="613250" y="1116634"/>
                    <a:pt x="613250" y="1116634"/>
                    <a:pt x="613250" y="1116634"/>
                  </a:cubicBezTo>
                  <a:cubicBezTo>
                    <a:pt x="613250" y="1116634"/>
                    <a:pt x="613250" y="1116634"/>
                    <a:pt x="512497" y="1206500"/>
                  </a:cubicBezTo>
                  <a:cubicBezTo>
                    <a:pt x="512497" y="1206500"/>
                    <a:pt x="512497" y="1206500"/>
                    <a:pt x="15878" y="1206500"/>
                  </a:cubicBezTo>
                  <a:cubicBezTo>
                    <a:pt x="5160" y="1206500"/>
                    <a:pt x="-2700" y="1195089"/>
                    <a:pt x="873" y="1185103"/>
                  </a:cubicBezTo>
                  <a:cubicBezTo>
                    <a:pt x="20880" y="1131612"/>
                    <a:pt x="78045" y="993959"/>
                    <a:pt x="156646" y="958298"/>
                  </a:cubicBezTo>
                  <a:cubicBezTo>
                    <a:pt x="215955" y="930482"/>
                    <a:pt x="303846" y="919071"/>
                    <a:pt x="365298" y="914078"/>
                  </a:cubicBezTo>
                  <a:cubicBezTo>
                    <a:pt x="358867" y="926916"/>
                    <a:pt x="353150" y="941181"/>
                    <a:pt x="349577" y="958298"/>
                  </a:cubicBezTo>
                  <a:cubicBezTo>
                    <a:pt x="322424" y="959011"/>
                    <a:pt x="299558" y="969710"/>
                    <a:pt x="280980" y="988253"/>
                  </a:cubicBezTo>
                  <a:cubicBezTo>
                    <a:pt x="229531" y="1042458"/>
                    <a:pt x="232390" y="1146589"/>
                    <a:pt x="232390" y="1151582"/>
                  </a:cubicBezTo>
                  <a:cubicBezTo>
                    <a:pt x="233104" y="1158001"/>
                    <a:pt x="238106" y="1162993"/>
                    <a:pt x="244537" y="1162993"/>
                  </a:cubicBezTo>
                  <a:cubicBezTo>
                    <a:pt x="244537" y="1162993"/>
                    <a:pt x="244537" y="1162993"/>
                    <a:pt x="268118" y="1162993"/>
                  </a:cubicBezTo>
                  <a:cubicBezTo>
                    <a:pt x="275263" y="1162993"/>
                    <a:pt x="281694" y="1157288"/>
                    <a:pt x="280980" y="1149442"/>
                  </a:cubicBezTo>
                  <a:cubicBezTo>
                    <a:pt x="280265" y="1143023"/>
                    <a:pt x="274549" y="1138744"/>
                    <a:pt x="267403" y="1138744"/>
                  </a:cubicBezTo>
                  <a:cubicBezTo>
                    <a:pt x="267403" y="1138744"/>
                    <a:pt x="267403" y="1138744"/>
                    <a:pt x="256685" y="1138744"/>
                  </a:cubicBezTo>
                  <a:cubicBezTo>
                    <a:pt x="257399" y="1110928"/>
                    <a:pt x="263116" y="1042458"/>
                    <a:pt x="298844" y="1006084"/>
                  </a:cubicBezTo>
                  <a:cubicBezTo>
                    <a:pt x="313849" y="990393"/>
                    <a:pt x="332428" y="982548"/>
                    <a:pt x="355294" y="982548"/>
                  </a:cubicBezTo>
                  <a:cubicBezTo>
                    <a:pt x="355294" y="982548"/>
                    <a:pt x="358152" y="982548"/>
                    <a:pt x="361725" y="982548"/>
                  </a:cubicBezTo>
                  <a:cubicBezTo>
                    <a:pt x="381018" y="983974"/>
                    <a:pt x="396024" y="991820"/>
                    <a:pt x="408171" y="1005371"/>
                  </a:cubicBezTo>
                  <a:cubicBezTo>
                    <a:pt x="440326" y="1041745"/>
                    <a:pt x="438897" y="1111641"/>
                    <a:pt x="436754" y="1138744"/>
                  </a:cubicBezTo>
                  <a:cubicBezTo>
                    <a:pt x="436754" y="1138744"/>
                    <a:pt x="436754" y="1138744"/>
                    <a:pt x="416746" y="1138744"/>
                  </a:cubicBezTo>
                  <a:cubicBezTo>
                    <a:pt x="409600" y="1138744"/>
                    <a:pt x="403884" y="1144450"/>
                    <a:pt x="404598" y="1152295"/>
                  </a:cubicBezTo>
                  <a:cubicBezTo>
                    <a:pt x="405313" y="1158714"/>
                    <a:pt x="411030" y="1162993"/>
                    <a:pt x="417461" y="1162993"/>
                  </a:cubicBezTo>
                  <a:cubicBezTo>
                    <a:pt x="417461" y="1162993"/>
                    <a:pt x="417461" y="1162993"/>
                    <a:pt x="448187" y="1162993"/>
                  </a:cubicBezTo>
                  <a:cubicBezTo>
                    <a:pt x="453903" y="1162993"/>
                    <a:pt x="459620" y="1158714"/>
                    <a:pt x="460334" y="1152295"/>
                  </a:cubicBezTo>
                  <a:cubicBezTo>
                    <a:pt x="461049" y="1148016"/>
                    <a:pt x="473911" y="1042458"/>
                    <a:pt x="426750" y="988967"/>
                  </a:cubicBezTo>
                  <a:cubicBezTo>
                    <a:pt x="413173" y="972562"/>
                    <a:pt x="395309" y="963291"/>
                    <a:pt x="374587" y="959724"/>
                  </a:cubicBezTo>
                  <a:cubicBezTo>
                    <a:pt x="379589" y="939041"/>
                    <a:pt x="386735" y="923350"/>
                    <a:pt x="396024" y="912652"/>
                  </a:cubicBezTo>
                  <a:cubicBezTo>
                    <a:pt x="418890" y="911225"/>
                    <a:pt x="433181" y="911225"/>
                    <a:pt x="433181" y="911225"/>
                  </a:cubicBezTo>
                  <a:close/>
                  <a:moveTo>
                    <a:pt x="300513" y="520700"/>
                  </a:moveTo>
                  <a:cubicBezTo>
                    <a:pt x="300513" y="520700"/>
                    <a:pt x="300513" y="520700"/>
                    <a:pt x="336959" y="537845"/>
                  </a:cubicBezTo>
                  <a:cubicBezTo>
                    <a:pt x="341961" y="551418"/>
                    <a:pt x="351966" y="567135"/>
                    <a:pt x="369831" y="575707"/>
                  </a:cubicBezTo>
                  <a:cubicBezTo>
                    <a:pt x="373405" y="577850"/>
                    <a:pt x="376263" y="580708"/>
                    <a:pt x="377692" y="584280"/>
                  </a:cubicBezTo>
                  <a:cubicBezTo>
                    <a:pt x="406277" y="657860"/>
                    <a:pt x="459874" y="781447"/>
                    <a:pt x="479884" y="800021"/>
                  </a:cubicBezTo>
                  <a:cubicBezTo>
                    <a:pt x="512042" y="827881"/>
                    <a:pt x="595653" y="880745"/>
                    <a:pt x="641389" y="880745"/>
                  </a:cubicBezTo>
                  <a:cubicBezTo>
                    <a:pt x="687840" y="880745"/>
                    <a:pt x="770737" y="827881"/>
                    <a:pt x="802895" y="800021"/>
                  </a:cubicBezTo>
                  <a:cubicBezTo>
                    <a:pt x="823619" y="781447"/>
                    <a:pt x="876501" y="657860"/>
                    <a:pt x="905086" y="584280"/>
                  </a:cubicBezTo>
                  <a:cubicBezTo>
                    <a:pt x="906516" y="580708"/>
                    <a:pt x="908659" y="577850"/>
                    <a:pt x="912233" y="575707"/>
                  </a:cubicBezTo>
                  <a:cubicBezTo>
                    <a:pt x="930098" y="567135"/>
                    <a:pt x="940103" y="551418"/>
                    <a:pt x="945105" y="537845"/>
                  </a:cubicBezTo>
                  <a:cubicBezTo>
                    <a:pt x="981551" y="520700"/>
                    <a:pt x="981551" y="520700"/>
                    <a:pt x="981551" y="520700"/>
                  </a:cubicBezTo>
                  <a:cubicBezTo>
                    <a:pt x="981551" y="521415"/>
                    <a:pt x="981551" y="522129"/>
                    <a:pt x="981551" y="522843"/>
                  </a:cubicBezTo>
                  <a:cubicBezTo>
                    <a:pt x="979407" y="539274"/>
                    <a:pt x="969403" y="579279"/>
                    <a:pt x="932242" y="600710"/>
                  </a:cubicBezTo>
                  <a:cubicBezTo>
                    <a:pt x="916520" y="640715"/>
                    <a:pt x="862209" y="776446"/>
                    <a:pt x="830051" y="816451"/>
                  </a:cubicBezTo>
                  <a:cubicBezTo>
                    <a:pt x="830051" y="816451"/>
                    <a:pt x="830051" y="816451"/>
                    <a:pt x="830051" y="886460"/>
                  </a:cubicBezTo>
                  <a:cubicBezTo>
                    <a:pt x="830051" y="886460"/>
                    <a:pt x="830051" y="886460"/>
                    <a:pt x="825048" y="893604"/>
                  </a:cubicBezTo>
                  <a:cubicBezTo>
                    <a:pt x="824334" y="895033"/>
                    <a:pt x="815044" y="906463"/>
                    <a:pt x="798607" y="920750"/>
                  </a:cubicBezTo>
                  <a:cubicBezTo>
                    <a:pt x="798607" y="920750"/>
                    <a:pt x="798607" y="920750"/>
                    <a:pt x="798607" y="842883"/>
                  </a:cubicBezTo>
                  <a:cubicBezTo>
                    <a:pt x="756444" y="873601"/>
                    <a:pt x="687840" y="912178"/>
                    <a:pt x="641389" y="912178"/>
                  </a:cubicBezTo>
                  <a:cubicBezTo>
                    <a:pt x="594938" y="912178"/>
                    <a:pt x="527049" y="873601"/>
                    <a:pt x="484171" y="842883"/>
                  </a:cubicBezTo>
                  <a:cubicBezTo>
                    <a:pt x="484171" y="842883"/>
                    <a:pt x="484171" y="842883"/>
                    <a:pt x="484171" y="920750"/>
                  </a:cubicBezTo>
                  <a:cubicBezTo>
                    <a:pt x="467735" y="906463"/>
                    <a:pt x="459160" y="895033"/>
                    <a:pt x="458445" y="893604"/>
                  </a:cubicBezTo>
                  <a:cubicBezTo>
                    <a:pt x="458445" y="893604"/>
                    <a:pt x="458445" y="893604"/>
                    <a:pt x="452728" y="886460"/>
                  </a:cubicBezTo>
                  <a:cubicBezTo>
                    <a:pt x="452728" y="886460"/>
                    <a:pt x="452728" y="886460"/>
                    <a:pt x="452728" y="816451"/>
                  </a:cubicBezTo>
                  <a:cubicBezTo>
                    <a:pt x="420570" y="777161"/>
                    <a:pt x="366258" y="640715"/>
                    <a:pt x="350537" y="600710"/>
                  </a:cubicBezTo>
                  <a:cubicBezTo>
                    <a:pt x="314805" y="579993"/>
                    <a:pt x="304086" y="544275"/>
                    <a:pt x="301227" y="524272"/>
                  </a:cubicBezTo>
                  <a:cubicBezTo>
                    <a:pt x="300513" y="523558"/>
                    <a:pt x="300513" y="522129"/>
                    <a:pt x="300513" y="520700"/>
                  </a:cubicBezTo>
                  <a:close/>
                  <a:moveTo>
                    <a:pt x="699848" y="0"/>
                  </a:moveTo>
                  <a:cubicBezTo>
                    <a:pt x="690552" y="4297"/>
                    <a:pt x="681970" y="10026"/>
                    <a:pt x="674820" y="17188"/>
                  </a:cubicBezTo>
                  <a:cubicBezTo>
                    <a:pt x="726306" y="11459"/>
                    <a:pt x="778508" y="12891"/>
                    <a:pt x="829995" y="20053"/>
                  </a:cubicBezTo>
                  <a:cubicBezTo>
                    <a:pt x="817838" y="22202"/>
                    <a:pt x="807112" y="27215"/>
                    <a:pt x="798531" y="35093"/>
                  </a:cubicBezTo>
                  <a:cubicBezTo>
                    <a:pt x="845727" y="26499"/>
                    <a:pt x="896498" y="37958"/>
                    <a:pt x="935828" y="65172"/>
                  </a:cubicBezTo>
                  <a:cubicBezTo>
                    <a:pt x="935828" y="65172"/>
                    <a:pt x="935828" y="65172"/>
                    <a:pt x="909370" y="71618"/>
                  </a:cubicBezTo>
                  <a:cubicBezTo>
                    <a:pt x="953705" y="90239"/>
                    <a:pt x="991605" y="121035"/>
                    <a:pt x="1018063" y="158992"/>
                  </a:cubicBezTo>
                  <a:cubicBezTo>
                    <a:pt x="1004477" y="153263"/>
                    <a:pt x="990175" y="148966"/>
                    <a:pt x="975158" y="146101"/>
                  </a:cubicBezTo>
                  <a:cubicBezTo>
                    <a:pt x="990890" y="166154"/>
                    <a:pt x="1003046" y="189072"/>
                    <a:pt x="1012342" y="212706"/>
                  </a:cubicBezTo>
                  <a:cubicBezTo>
                    <a:pt x="998041" y="196234"/>
                    <a:pt x="978018" y="184059"/>
                    <a:pt x="957281" y="178329"/>
                  </a:cubicBezTo>
                  <a:cubicBezTo>
                    <a:pt x="945124" y="174748"/>
                    <a:pt x="932252" y="173316"/>
                    <a:pt x="919381" y="173316"/>
                  </a:cubicBezTo>
                  <a:cubicBezTo>
                    <a:pt x="960141" y="228462"/>
                    <a:pt x="983739" y="296499"/>
                    <a:pt x="983739" y="370266"/>
                  </a:cubicBezTo>
                  <a:cubicBezTo>
                    <a:pt x="983739" y="410372"/>
                    <a:pt x="984454" y="448330"/>
                    <a:pt x="971582" y="483423"/>
                  </a:cubicBezTo>
                  <a:cubicBezTo>
                    <a:pt x="971582" y="483423"/>
                    <a:pt x="970867" y="483423"/>
                    <a:pt x="970867" y="482707"/>
                  </a:cubicBezTo>
                  <a:cubicBezTo>
                    <a:pt x="970152" y="483423"/>
                    <a:pt x="964431" y="500611"/>
                    <a:pt x="932967" y="534988"/>
                  </a:cubicBezTo>
                  <a:cubicBezTo>
                    <a:pt x="932967" y="534988"/>
                    <a:pt x="932967" y="534988"/>
                    <a:pt x="907224" y="534988"/>
                  </a:cubicBezTo>
                  <a:cubicBezTo>
                    <a:pt x="907224" y="534988"/>
                    <a:pt x="907224" y="522813"/>
                    <a:pt x="904364" y="288621"/>
                  </a:cubicBezTo>
                  <a:cubicBezTo>
                    <a:pt x="887917" y="398197"/>
                    <a:pt x="666238" y="439736"/>
                    <a:pt x="666238" y="439736"/>
                  </a:cubicBezTo>
                  <a:cubicBezTo>
                    <a:pt x="666238" y="439736"/>
                    <a:pt x="685546" y="392468"/>
                    <a:pt x="694127" y="370982"/>
                  </a:cubicBezTo>
                  <a:cubicBezTo>
                    <a:pt x="694842" y="368834"/>
                    <a:pt x="695557" y="366685"/>
                    <a:pt x="696272" y="365253"/>
                  </a:cubicBezTo>
                  <a:cubicBezTo>
                    <a:pt x="695557" y="367402"/>
                    <a:pt x="693412" y="368834"/>
                    <a:pt x="691267" y="370982"/>
                  </a:cubicBezTo>
                  <a:cubicBezTo>
                    <a:pt x="661233" y="391752"/>
                    <a:pt x="518215" y="402494"/>
                    <a:pt x="518215" y="402494"/>
                  </a:cubicBezTo>
                  <a:cubicBezTo>
                    <a:pt x="518215" y="402494"/>
                    <a:pt x="518215" y="402494"/>
                    <a:pt x="587579" y="348064"/>
                  </a:cubicBezTo>
                  <a:cubicBezTo>
                    <a:pt x="587579" y="348064"/>
                    <a:pt x="587579" y="348064"/>
                    <a:pt x="591154" y="345200"/>
                  </a:cubicBezTo>
                  <a:cubicBezTo>
                    <a:pt x="589724" y="345916"/>
                    <a:pt x="588294" y="347348"/>
                    <a:pt x="586863" y="348064"/>
                  </a:cubicBezTo>
                  <a:cubicBezTo>
                    <a:pt x="538237" y="381009"/>
                    <a:pt x="423823" y="373847"/>
                    <a:pt x="423823" y="373847"/>
                  </a:cubicBezTo>
                  <a:cubicBezTo>
                    <a:pt x="423823" y="373847"/>
                    <a:pt x="423823" y="373847"/>
                    <a:pt x="484606" y="314404"/>
                  </a:cubicBezTo>
                  <a:cubicBezTo>
                    <a:pt x="468158" y="307958"/>
                    <a:pt x="458147" y="303661"/>
                    <a:pt x="458147" y="303661"/>
                  </a:cubicBezTo>
                  <a:cubicBezTo>
                    <a:pt x="357320" y="334457"/>
                    <a:pt x="375197" y="530691"/>
                    <a:pt x="375197" y="530691"/>
                  </a:cubicBezTo>
                  <a:cubicBezTo>
                    <a:pt x="375197" y="530691"/>
                    <a:pt x="375197" y="530691"/>
                    <a:pt x="352314" y="528543"/>
                  </a:cubicBezTo>
                  <a:cubicBezTo>
                    <a:pt x="352314" y="528543"/>
                    <a:pt x="352314" y="516367"/>
                    <a:pt x="317990" y="487720"/>
                  </a:cubicBezTo>
                  <a:cubicBezTo>
                    <a:pt x="317990" y="487004"/>
                    <a:pt x="317990" y="487004"/>
                    <a:pt x="317990" y="487004"/>
                  </a:cubicBezTo>
                  <a:cubicBezTo>
                    <a:pt x="303688" y="450479"/>
                    <a:pt x="305118" y="411089"/>
                    <a:pt x="305118" y="370266"/>
                  </a:cubicBezTo>
                  <a:cubicBezTo>
                    <a:pt x="305118" y="224165"/>
                    <a:pt x="396649" y="100265"/>
                    <a:pt x="528941" y="54430"/>
                  </a:cubicBezTo>
                  <a:cubicBezTo>
                    <a:pt x="584003" y="30796"/>
                    <a:pt x="641210" y="12175"/>
                    <a:pt x="699848"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Calibri"/>
                <a:ea typeface="+mn-ea"/>
                <a:cs typeface="+mn-cs"/>
              </a:endParaRPr>
            </a:p>
          </p:txBody>
        </p:sp>
      </p:grpSp>
      <p:grpSp>
        <p:nvGrpSpPr>
          <p:cNvPr id="13" name="Group 12">
            <a:extLst>
              <a:ext uri="{FF2B5EF4-FFF2-40B4-BE49-F238E27FC236}">
                <a16:creationId xmlns:a16="http://schemas.microsoft.com/office/drawing/2014/main" id="{4E924706-A2C7-554A-A2C2-CC167572579B}"/>
              </a:ext>
            </a:extLst>
          </p:cNvPr>
          <p:cNvGrpSpPr>
            <a:grpSpLocks noChangeAspect="1"/>
          </p:cNvGrpSpPr>
          <p:nvPr/>
        </p:nvGrpSpPr>
        <p:grpSpPr>
          <a:xfrm>
            <a:off x="2057400" y="1541630"/>
            <a:ext cx="335171" cy="334847"/>
            <a:chOff x="5273675" y="2606675"/>
            <a:chExt cx="1646238" cy="1644650"/>
          </a:xfrm>
        </p:grpSpPr>
        <p:sp>
          <p:nvSpPr>
            <p:cNvPr id="14" name="AutoShape 3">
              <a:extLst>
                <a:ext uri="{FF2B5EF4-FFF2-40B4-BE49-F238E27FC236}">
                  <a16:creationId xmlns:a16="http://schemas.microsoft.com/office/drawing/2014/main" id="{77E448A9-8DF8-3647-8308-B9670832A5FE}"/>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Calibri"/>
                <a:ea typeface="+mn-ea"/>
                <a:cs typeface="+mn-cs"/>
              </a:endParaRPr>
            </a:p>
          </p:txBody>
        </p:sp>
        <p:sp>
          <p:nvSpPr>
            <p:cNvPr id="15" name="Freeform 31">
              <a:extLst>
                <a:ext uri="{FF2B5EF4-FFF2-40B4-BE49-F238E27FC236}">
                  <a16:creationId xmlns:a16="http://schemas.microsoft.com/office/drawing/2014/main" id="{A7043808-5EBE-6041-924E-2AA9229DC5E7}"/>
                </a:ext>
              </a:extLst>
            </p:cNvPr>
            <p:cNvSpPr>
              <a:spLocks/>
            </p:cNvSpPr>
            <p:nvPr/>
          </p:nvSpPr>
          <p:spPr bwMode="auto">
            <a:xfrm>
              <a:off x="5343137" y="2865438"/>
              <a:ext cx="1505727" cy="1214437"/>
            </a:xfrm>
            <a:custGeom>
              <a:avLst/>
              <a:gdLst>
                <a:gd name="connsiteX0" fmla="*/ 350794 w 1505727"/>
                <a:gd name="connsiteY0" fmla="*/ 1090612 h 1214437"/>
                <a:gd name="connsiteX1" fmla="*/ 1154933 w 1505727"/>
                <a:gd name="connsiteY1" fmla="*/ 1090612 h 1214437"/>
                <a:gd name="connsiteX2" fmla="*/ 1169944 w 1505727"/>
                <a:gd name="connsiteY2" fmla="*/ 1105557 h 1214437"/>
                <a:gd name="connsiteX3" fmla="*/ 1169944 w 1505727"/>
                <a:gd name="connsiteY3" fmla="*/ 1126194 h 1214437"/>
                <a:gd name="connsiteX4" fmla="*/ 1214976 w 1505727"/>
                <a:gd name="connsiteY4" fmla="*/ 1126194 h 1214437"/>
                <a:gd name="connsiteX5" fmla="*/ 1230701 w 1505727"/>
                <a:gd name="connsiteY5" fmla="*/ 1141850 h 1214437"/>
                <a:gd name="connsiteX6" fmla="*/ 1230701 w 1505727"/>
                <a:gd name="connsiteY6" fmla="*/ 1199493 h 1214437"/>
                <a:gd name="connsiteX7" fmla="*/ 1214976 w 1505727"/>
                <a:gd name="connsiteY7" fmla="*/ 1214437 h 1214437"/>
                <a:gd name="connsiteX8" fmla="*/ 290751 w 1505727"/>
                <a:gd name="connsiteY8" fmla="*/ 1214437 h 1214437"/>
                <a:gd name="connsiteX9" fmla="*/ 275026 w 1505727"/>
                <a:gd name="connsiteY9" fmla="*/ 1199493 h 1214437"/>
                <a:gd name="connsiteX10" fmla="*/ 275026 w 1505727"/>
                <a:gd name="connsiteY10" fmla="*/ 1141850 h 1214437"/>
                <a:gd name="connsiteX11" fmla="*/ 290751 w 1505727"/>
                <a:gd name="connsiteY11" fmla="*/ 1126194 h 1214437"/>
                <a:gd name="connsiteX12" fmla="*/ 335783 w 1505727"/>
                <a:gd name="connsiteY12" fmla="*/ 1126194 h 1214437"/>
                <a:gd name="connsiteX13" fmla="*/ 335783 w 1505727"/>
                <a:gd name="connsiteY13" fmla="*/ 1105557 h 1214437"/>
                <a:gd name="connsiteX14" fmla="*/ 350794 w 1505727"/>
                <a:gd name="connsiteY14" fmla="*/ 1090612 h 1214437"/>
                <a:gd name="connsiteX15" fmla="*/ 674282 w 1505727"/>
                <a:gd name="connsiteY15" fmla="*/ 736600 h 1214437"/>
                <a:gd name="connsiteX16" fmla="*/ 831444 w 1505727"/>
                <a:gd name="connsiteY16" fmla="*/ 736600 h 1214437"/>
                <a:gd name="connsiteX17" fmla="*/ 838588 w 1505727"/>
                <a:gd name="connsiteY17" fmla="*/ 743723 h 1214437"/>
                <a:gd name="connsiteX18" fmla="*/ 838588 w 1505727"/>
                <a:gd name="connsiteY18" fmla="*/ 1048566 h 1214437"/>
                <a:gd name="connsiteX19" fmla="*/ 831444 w 1505727"/>
                <a:gd name="connsiteY19" fmla="*/ 1055688 h 1214437"/>
                <a:gd name="connsiteX20" fmla="*/ 674282 w 1505727"/>
                <a:gd name="connsiteY20" fmla="*/ 1055688 h 1214437"/>
                <a:gd name="connsiteX21" fmla="*/ 667138 w 1505727"/>
                <a:gd name="connsiteY21" fmla="*/ 1048566 h 1214437"/>
                <a:gd name="connsiteX22" fmla="*/ 667138 w 1505727"/>
                <a:gd name="connsiteY22" fmla="*/ 743723 h 1214437"/>
                <a:gd name="connsiteX23" fmla="*/ 674282 w 1505727"/>
                <a:gd name="connsiteY23" fmla="*/ 736600 h 1214437"/>
                <a:gd name="connsiteX24" fmla="*/ 1306142 w 1505727"/>
                <a:gd name="connsiteY24" fmla="*/ 730250 h 1214437"/>
                <a:gd name="connsiteX25" fmla="*/ 1374335 w 1505727"/>
                <a:gd name="connsiteY25" fmla="*/ 730250 h 1214437"/>
                <a:gd name="connsiteX26" fmla="*/ 1381513 w 1505727"/>
                <a:gd name="connsiteY26" fmla="*/ 737428 h 1214437"/>
                <a:gd name="connsiteX27" fmla="*/ 1381513 w 1505727"/>
                <a:gd name="connsiteY27" fmla="*/ 805622 h 1214437"/>
                <a:gd name="connsiteX28" fmla="*/ 1374335 w 1505727"/>
                <a:gd name="connsiteY28" fmla="*/ 812800 h 1214437"/>
                <a:gd name="connsiteX29" fmla="*/ 1306142 w 1505727"/>
                <a:gd name="connsiteY29" fmla="*/ 812800 h 1214437"/>
                <a:gd name="connsiteX30" fmla="*/ 1298963 w 1505727"/>
                <a:gd name="connsiteY30" fmla="*/ 805622 h 1214437"/>
                <a:gd name="connsiteX31" fmla="*/ 1298963 w 1505727"/>
                <a:gd name="connsiteY31" fmla="*/ 737428 h 1214437"/>
                <a:gd name="connsiteX32" fmla="*/ 1306142 w 1505727"/>
                <a:gd name="connsiteY32" fmla="*/ 730250 h 1214437"/>
                <a:gd name="connsiteX33" fmla="*/ 1188529 w 1505727"/>
                <a:gd name="connsiteY33" fmla="*/ 730250 h 1214437"/>
                <a:gd name="connsiteX34" fmla="*/ 1255411 w 1505727"/>
                <a:gd name="connsiteY34" fmla="*/ 730250 h 1214437"/>
                <a:gd name="connsiteX35" fmla="*/ 1262451 w 1505727"/>
                <a:gd name="connsiteY35" fmla="*/ 737428 h 1214437"/>
                <a:gd name="connsiteX36" fmla="*/ 1262451 w 1505727"/>
                <a:gd name="connsiteY36" fmla="*/ 805622 h 1214437"/>
                <a:gd name="connsiteX37" fmla="*/ 1255411 w 1505727"/>
                <a:gd name="connsiteY37" fmla="*/ 812800 h 1214437"/>
                <a:gd name="connsiteX38" fmla="*/ 1188529 w 1505727"/>
                <a:gd name="connsiteY38" fmla="*/ 812800 h 1214437"/>
                <a:gd name="connsiteX39" fmla="*/ 1181488 w 1505727"/>
                <a:gd name="connsiteY39" fmla="*/ 805622 h 1214437"/>
                <a:gd name="connsiteX40" fmla="*/ 1181488 w 1505727"/>
                <a:gd name="connsiteY40" fmla="*/ 737428 h 1214437"/>
                <a:gd name="connsiteX41" fmla="*/ 1188529 w 1505727"/>
                <a:gd name="connsiteY41" fmla="*/ 730250 h 1214437"/>
                <a:gd name="connsiteX42" fmla="*/ 248866 w 1505727"/>
                <a:gd name="connsiteY42" fmla="*/ 730250 h 1214437"/>
                <a:gd name="connsiteX43" fmla="*/ 317059 w 1505727"/>
                <a:gd name="connsiteY43" fmla="*/ 730250 h 1214437"/>
                <a:gd name="connsiteX44" fmla="*/ 324238 w 1505727"/>
                <a:gd name="connsiteY44" fmla="*/ 737428 h 1214437"/>
                <a:gd name="connsiteX45" fmla="*/ 324238 w 1505727"/>
                <a:gd name="connsiteY45" fmla="*/ 805622 h 1214437"/>
                <a:gd name="connsiteX46" fmla="*/ 317059 w 1505727"/>
                <a:gd name="connsiteY46" fmla="*/ 812800 h 1214437"/>
                <a:gd name="connsiteX47" fmla="*/ 248866 w 1505727"/>
                <a:gd name="connsiteY47" fmla="*/ 812800 h 1214437"/>
                <a:gd name="connsiteX48" fmla="*/ 241688 w 1505727"/>
                <a:gd name="connsiteY48" fmla="*/ 805622 h 1214437"/>
                <a:gd name="connsiteX49" fmla="*/ 241688 w 1505727"/>
                <a:gd name="connsiteY49" fmla="*/ 737428 h 1214437"/>
                <a:gd name="connsiteX50" fmla="*/ 248866 w 1505727"/>
                <a:gd name="connsiteY50" fmla="*/ 730250 h 1214437"/>
                <a:gd name="connsiteX51" fmla="*/ 131253 w 1505727"/>
                <a:gd name="connsiteY51" fmla="*/ 730250 h 1214437"/>
                <a:gd name="connsiteX52" fmla="*/ 198135 w 1505727"/>
                <a:gd name="connsiteY52" fmla="*/ 730250 h 1214437"/>
                <a:gd name="connsiteX53" fmla="*/ 205176 w 1505727"/>
                <a:gd name="connsiteY53" fmla="*/ 737428 h 1214437"/>
                <a:gd name="connsiteX54" fmla="*/ 205176 w 1505727"/>
                <a:gd name="connsiteY54" fmla="*/ 805622 h 1214437"/>
                <a:gd name="connsiteX55" fmla="*/ 198135 w 1505727"/>
                <a:gd name="connsiteY55" fmla="*/ 812800 h 1214437"/>
                <a:gd name="connsiteX56" fmla="*/ 131253 w 1505727"/>
                <a:gd name="connsiteY56" fmla="*/ 812800 h 1214437"/>
                <a:gd name="connsiteX57" fmla="*/ 124213 w 1505727"/>
                <a:gd name="connsiteY57" fmla="*/ 805622 h 1214437"/>
                <a:gd name="connsiteX58" fmla="*/ 124213 w 1505727"/>
                <a:gd name="connsiteY58" fmla="*/ 737428 h 1214437"/>
                <a:gd name="connsiteX59" fmla="*/ 131253 w 1505727"/>
                <a:gd name="connsiteY59" fmla="*/ 730250 h 1214437"/>
                <a:gd name="connsiteX60" fmla="*/ 983051 w 1505727"/>
                <a:gd name="connsiteY60" fmla="*/ 638175 h 1214437"/>
                <a:gd name="connsiteX61" fmla="*/ 1049726 w 1505727"/>
                <a:gd name="connsiteY61" fmla="*/ 703683 h 1214437"/>
                <a:gd name="connsiteX62" fmla="*/ 1049726 w 1505727"/>
                <a:gd name="connsiteY62" fmla="*/ 928688 h 1214437"/>
                <a:gd name="connsiteX63" fmla="*/ 916376 w 1505727"/>
                <a:gd name="connsiteY63" fmla="*/ 928688 h 1214437"/>
                <a:gd name="connsiteX64" fmla="*/ 916376 w 1505727"/>
                <a:gd name="connsiteY64" fmla="*/ 703683 h 1214437"/>
                <a:gd name="connsiteX65" fmla="*/ 983051 w 1505727"/>
                <a:gd name="connsiteY65" fmla="*/ 638175 h 1214437"/>
                <a:gd name="connsiteX66" fmla="*/ 522676 w 1505727"/>
                <a:gd name="connsiteY66" fmla="*/ 638175 h 1214437"/>
                <a:gd name="connsiteX67" fmla="*/ 589351 w 1505727"/>
                <a:gd name="connsiteY67" fmla="*/ 703683 h 1214437"/>
                <a:gd name="connsiteX68" fmla="*/ 589351 w 1505727"/>
                <a:gd name="connsiteY68" fmla="*/ 928688 h 1214437"/>
                <a:gd name="connsiteX69" fmla="*/ 456001 w 1505727"/>
                <a:gd name="connsiteY69" fmla="*/ 928688 h 1214437"/>
                <a:gd name="connsiteX70" fmla="*/ 456001 w 1505727"/>
                <a:gd name="connsiteY70" fmla="*/ 703683 h 1214437"/>
                <a:gd name="connsiteX71" fmla="*/ 522676 w 1505727"/>
                <a:gd name="connsiteY71" fmla="*/ 638175 h 1214437"/>
                <a:gd name="connsiteX72" fmla="*/ 1306142 w 1505727"/>
                <a:gd name="connsiteY72" fmla="*/ 614362 h 1214437"/>
                <a:gd name="connsiteX73" fmla="*/ 1374335 w 1505727"/>
                <a:gd name="connsiteY73" fmla="*/ 614362 h 1214437"/>
                <a:gd name="connsiteX74" fmla="*/ 1381513 w 1505727"/>
                <a:gd name="connsiteY74" fmla="*/ 621540 h 1214437"/>
                <a:gd name="connsiteX75" fmla="*/ 1381513 w 1505727"/>
                <a:gd name="connsiteY75" fmla="*/ 689734 h 1214437"/>
                <a:gd name="connsiteX76" fmla="*/ 1374335 w 1505727"/>
                <a:gd name="connsiteY76" fmla="*/ 696912 h 1214437"/>
                <a:gd name="connsiteX77" fmla="*/ 1306142 w 1505727"/>
                <a:gd name="connsiteY77" fmla="*/ 696912 h 1214437"/>
                <a:gd name="connsiteX78" fmla="*/ 1298963 w 1505727"/>
                <a:gd name="connsiteY78" fmla="*/ 689734 h 1214437"/>
                <a:gd name="connsiteX79" fmla="*/ 1298963 w 1505727"/>
                <a:gd name="connsiteY79" fmla="*/ 621540 h 1214437"/>
                <a:gd name="connsiteX80" fmla="*/ 1306142 w 1505727"/>
                <a:gd name="connsiteY80" fmla="*/ 614362 h 1214437"/>
                <a:gd name="connsiteX81" fmla="*/ 1188529 w 1505727"/>
                <a:gd name="connsiteY81" fmla="*/ 614362 h 1214437"/>
                <a:gd name="connsiteX82" fmla="*/ 1255411 w 1505727"/>
                <a:gd name="connsiteY82" fmla="*/ 614362 h 1214437"/>
                <a:gd name="connsiteX83" fmla="*/ 1262451 w 1505727"/>
                <a:gd name="connsiteY83" fmla="*/ 621540 h 1214437"/>
                <a:gd name="connsiteX84" fmla="*/ 1262451 w 1505727"/>
                <a:gd name="connsiteY84" fmla="*/ 689734 h 1214437"/>
                <a:gd name="connsiteX85" fmla="*/ 1255411 w 1505727"/>
                <a:gd name="connsiteY85" fmla="*/ 696912 h 1214437"/>
                <a:gd name="connsiteX86" fmla="*/ 1188529 w 1505727"/>
                <a:gd name="connsiteY86" fmla="*/ 696912 h 1214437"/>
                <a:gd name="connsiteX87" fmla="*/ 1181488 w 1505727"/>
                <a:gd name="connsiteY87" fmla="*/ 689734 h 1214437"/>
                <a:gd name="connsiteX88" fmla="*/ 1181488 w 1505727"/>
                <a:gd name="connsiteY88" fmla="*/ 621540 h 1214437"/>
                <a:gd name="connsiteX89" fmla="*/ 1188529 w 1505727"/>
                <a:gd name="connsiteY89" fmla="*/ 614362 h 1214437"/>
                <a:gd name="connsiteX90" fmla="*/ 248866 w 1505727"/>
                <a:gd name="connsiteY90" fmla="*/ 614362 h 1214437"/>
                <a:gd name="connsiteX91" fmla="*/ 317059 w 1505727"/>
                <a:gd name="connsiteY91" fmla="*/ 614362 h 1214437"/>
                <a:gd name="connsiteX92" fmla="*/ 324238 w 1505727"/>
                <a:gd name="connsiteY92" fmla="*/ 621540 h 1214437"/>
                <a:gd name="connsiteX93" fmla="*/ 324238 w 1505727"/>
                <a:gd name="connsiteY93" fmla="*/ 689734 h 1214437"/>
                <a:gd name="connsiteX94" fmla="*/ 317059 w 1505727"/>
                <a:gd name="connsiteY94" fmla="*/ 696912 h 1214437"/>
                <a:gd name="connsiteX95" fmla="*/ 248866 w 1505727"/>
                <a:gd name="connsiteY95" fmla="*/ 696912 h 1214437"/>
                <a:gd name="connsiteX96" fmla="*/ 241688 w 1505727"/>
                <a:gd name="connsiteY96" fmla="*/ 689734 h 1214437"/>
                <a:gd name="connsiteX97" fmla="*/ 241688 w 1505727"/>
                <a:gd name="connsiteY97" fmla="*/ 621540 h 1214437"/>
                <a:gd name="connsiteX98" fmla="*/ 248866 w 1505727"/>
                <a:gd name="connsiteY98" fmla="*/ 614362 h 1214437"/>
                <a:gd name="connsiteX99" fmla="*/ 131253 w 1505727"/>
                <a:gd name="connsiteY99" fmla="*/ 614362 h 1214437"/>
                <a:gd name="connsiteX100" fmla="*/ 198135 w 1505727"/>
                <a:gd name="connsiteY100" fmla="*/ 614362 h 1214437"/>
                <a:gd name="connsiteX101" fmla="*/ 205176 w 1505727"/>
                <a:gd name="connsiteY101" fmla="*/ 621540 h 1214437"/>
                <a:gd name="connsiteX102" fmla="*/ 205176 w 1505727"/>
                <a:gd name="connsiteY102" fmla="*/ 689734 h 1214437"/>
                <a:gd name="connsiteX103" fmla="*/ 198135 w 1505727"/>
                <a:gd name="connsiteY103" fmla="*/ 696912 h 1214437"/>
                <a:gd name="connsiteX104" fmla="*/ 131253 w 1505727"/>
                <a:gd name="connsiteY104" fmla="*/ 696912 h 1214437"/>
                <a:gd name="connsiteX105" fmla="*/ 124213 w 1505727"/>
                <a:gd name="connsiteY105" fmla="*/ 689734 h 1214437"/>
                <a:gd name="connsiteX106" fmla="*/ 124213 w 1505727"/>
                <a:gd name="connsiteY106" fmla="*/ 621540 h 1214437"/>
                <a:gd name="connsiteX107" fmla="*/ 131253 w 1505727"/>
                <a:gd name="connsiteY107" fmla="*/ 614362 h 1214437"/>
                <a:gd name="connsiteX108" fmla="*/ 1434315 w 1505727"/>
                <a:gd name="connsiteY108" fmla="*/ 561975 h 1214437"/>
                <a:gd name="connsiteX109" fmla="*/ 1465651 w 1505727"/>
                <a:gd name="connsiteY109" fmla="*/ 561975 h 1214437"/>
                <a:gd name="connsiteX110" fmla="*/ 1465651 w 1505727"/>
                <a:gd name="connsiteY110" fmla="*/ 951081 h 1214437"/>
                <a:gd name="connsiteX111" fmla="*/ 1449983 w 1505727"/>
                <a:gd name="connsiteY111" fmla="*/ 966788 h 1214437"/>
                <a:gd name="connsiteX112" fmla="*/ 1181488 w 1505727"/>
                <a:gd name="connsiteY112" fmla="*/ 966788 h 1214437"/>
                <a:gd name="connsiteX113" fmla="*/ 1181488 w 1505727"/>
                <a:gd name="connsiteY113" fmla="*/ 935374 h 1214437"/>
                <a:gd name="connsiteX114" fmla="*/ 1434315 w 1505727"/>
                <a:gd name="connsiteY114" fmla="*/ 935374 h 1214437"/>
                <a:gd name="connsiteX115" fmla="*/ 1434315 w 1505727"/>
                <a:gd name="connsiteY115" fmla="*/ 561975 h 1214437"/>
                <a:gd name="connsiteX116" fmla="*/ 40076 w 1505727"/>
                <a:gd name="connsiteY116" fmla="*/ 561975 h 1214437"/>
                <a:gd name="connsiteX117" fmla="*/ 71491 w 1505727"/>
                <a:gd name="connsiteY117" fmla="*/ 561975 h 1214437"/>
                <a:gd name="connsiteX118" fmla="*/ 71491 w 1505727"/>
                <a:gd name="connsiteY118" fmla="*/ 935374 h 1214437"/>
                <a:gd name="connsiteX119" fmla="*/ 324239 w 1505727"/>
                <a:gd name="connsiteY119" fmla="*/ 935374 h 1214437"/>
                <a:gd name="connsiteX120" fmla="*/ 324239 w 1505727"/>
                <a:gd name="connsiteY120" fmla="*/ 966788 h 1214437"/>
                <a:gd name="connsiteX121" fmla="*/ 55783 w 1505727"/>
                <a:gd name="connsiteY121" fmla="*/ 966788 h 1214437"/>
                <a:gd name="connsiteX122" fmla="*/ 40076 w 1505727"/>
                <a:gd name="connsiteY122" fmla="*/ 951081 h 1214437"/>
                <a:gd name="connsiteX123" fmla="*/ 40076 w 1505727"/>
                <a:gd name="connsiteY123" fmla="*/ 561975 h 1214437"/>
                <a:gd name="connsiteX124" fmla="*/ 750274 w 1505727"/>
                <a:gd name="connsiteY124" fmla="*/ 474662 h 1214437"/>
                <a:gd name="connsiteX125" fmla="*/ 741751 w 1505727"/>
                <a:gd name="connsiteY125" fmla="*/ 483301 h 1214437"/>
                <a:gd name="connsiteX126" fmla="*/ 741751 w 1505727"/>
                <a:gd name="connsiteY126" fmla="*/ 527936 h 1214437"/>
                <a:gd name="connsiteX127" fmla="*/ 750274 w 1505727"/>
                <a:gd name="connsiteY127" fmla="*/ 536575 h 1214437"/>
                <a:gd name="connsiteX128" fmla="*/ 787204 w 1505727"/>
                <a:gd name="connsiteY128" fmla="*/ 536575 h 1214437"/>
                <a:gd name="connsiteX129" fmla="*/ 795726 w 1505727"/>
                <a:gd name="connsiteY129" fmla="*/ 527936 h 1214437"/>
                <a:gd name="connsiteX130" fmla="*/ 787204 w 1505727"/>
                <a:gd name="connsiteY130" fmla="*/ 519297 h 1214437"/>
                <a:gd name="connsiteX131" fmla="*/ 758796 w 1505727"/>
                <a:gd name="connsiteY131" fmla="*/ 519297 h 1214437"/>
                <a:gd name="connsiteX132" fmla="*/ 758796 w 1505727"/>
                <a:gd name="connsiteY132" fmla="*/ 483301 h 1214437"/>
                <a:gd name="connsiteX133" fmla="*/ 750274 w 1505727"/>
                <a:gd name="connsiteY133" fmla="*/ 474662 h 1214437"/>
                <a:gd name="connsiteX134" fmla="*/ 752863 w 1505727"/>
                <a:gd name="connsiteY134" fmla="*/ 455612 h 1214437"/>
                <a:gd name="connsiteX135" fmla="*/ 822713 w 1505727"/>
                <a:gd name="connsiteY135" fmla="*/ 525462 h 1214437"/>
                <a:gd name="connsiteX136" fmla="*/ 752863 w 1505727"/>
                <a:gd name="connsiteY136" fmla="*/ 595312 h 1214437"/>
                <a:gd name="connsiteX137" fmla="*/ 683013 w 1505727"/>
                <a:gd name="connsiteY137" fmla="*/ 525462 h 1214437"/>
                <a:gd name="connsiteX138" fmla="*/ 752863 w 1505727"/>
                <a:gd name="connsiteY138" fmla="*/ 455612 h 1214437"/>
                <a:gd name="connsiteX139" fmla="*/ 935426 w 1505727"/>
                <a:gd name="connsiteY139" fmla="*/ 344487 h 1214437"/>
                <a:gd name="connsiteX140" fmla="*/ 1273900 w 1505727"/>
                <a:gd name="connsiteY140" fmla="*/ 344487 h 1214437"/>
                <a:gd name="connsiteX141" fmla="*/ 1498836 w 1505727"/>
                <a:gd name="connsiteY141" fmla="*/ 507798 h 1214437"/>
                <a:gd name="connsiteX142" fmla="*/ 1490267 w 1505727"/>
                <a:gd name="connsiteY142" fmla="*/ 536575 h 1214437"/>
                <a:gd name="connsiteX143" fmla="*/ 1178928 w 1505727"/>
                <a:gd name="connsiteY143" fmla="*/ 536575 h 1214437"/>
                <a:gd name="connsiteX144" fmla="*/ 1174643 w 1505727"/>
                <a:gd name="connsiteY144" fmla="*/ 532259 h 1214437"/>
                <a:gd name="connsiteX145" fmla="*/ 935426 w 1505727"/>
                <a:gd name="connsiteY145" fmla="*/ 344487 h 1214437"/>
                <a:gd name="connsiteX146" fmla="*/ 231112 w 1505727"/>
                <a:gd name="connsiteY146" fmla="*/ 344487 h 1214437"/>
                <a:gd name="connsiteX147" fmla="*/ 570301 w 1505727"/>
                <a:gd name="connsiteY147" fmla="*/ 344487 h 1214437"/>
                <a:gd name="connsiteX148" fmla="*/ 330370 w 1505727"/>
                <a:gd name="connsiteY148" fmla="*/ 532259 h 1214437"/>
                <a:gd name="connsiteX149" fmla="*/ 326085 w 1505727"/>
                <a:gd name="connsiteY149" fmla="*/ 536575 h 1214437"/>
                <a:gd name="connsiteX150" fmla="*/ 15460 w 1505727"/>
                <a:gd name="connsiteY150" fmla="*/ 536575 h 1214437"/>
                <a:gd name="connsiteX151" fmla="*/ 6891 w 1505727"/>
                <a:gd name="connsiteY151" fmla="*/ 507798 h 1214437"/>
                <a:gd name="connsiteX152" fmla="*/ 231112 w 1505727"/>
                <a:gd name="connsiteY152" fmla="*/ 344487 h 1214437"/>
                <a:gd name="connsiteX153" fmla="*/ 743933 w 1505727"/>
                <a:gd name="connsiteY153" fmla="*/ 250347 h 1214437"/>
                <a:gd name="connsiteX154" fmla="*/ 762508 w 1505727"/>
                <a:gd name="connsiteY154" fmla="*/ 250347 h 1214437"/>
                <a:gd name="connsiteX155" fmla="*/ 1143308 w 1505727"/>
                <a:gd name="connsiteY155" fmla="*/ 547411 h 1214437"/>
                <a:gd name="connsiteX156" fmla="*/ 1149738 w 1505727"/>
                <a:gd name="connsiteY156" fmla="*/ 559550 h 1214437"/>
                <a:gd name="connsiteX157" fmla="*/ 1149738 w 1505727"/>
                <a:gd name="connsiteY157" fmla="*/ 1057275 h 1214437"/>
                <a:gd name="connsiteX158" fmla="*/ 1118303 w 1505727"/>
                <a:gd name="connsiteY158" fmla="*/ 1057275 h 1214437"/>
                <a:gd name="connsiteX159" fmla="*/ 1118303 w 1505727"/>
                <a:gd name="connsiteY159" fmla="*/ 567405 h 1214437"/>
                <a:gd name="connsiteX160" fmla="*/ 753220 w 1505727"/>
                <a:gd name="connsiteY160" fmla="*/ 282481 h 1214437"/>
                <a:gd name="connsiteX161" fmla="*/ 387423 w 1505727"/>
                <a:gd name="connsiteY161" fmla="*/ 567405 h 1214437"/>
                <a:gd name="connsiteX162" fmla="*/ 387423 w 1505727"/>
                <a:gd name="connsiteY162" fmla="*/ 1057275 h 1214437"/>
                <a:gd name="connsiteX163" fmla="*/ 355988 w 1505727"/>
                <a:gd name="connsiteY163" fmla="*/ 1057275 h 1214437"/>
                <a:gd name="connsiteX164" fmla="*/ 355988 w 1505727"/>
                <a:gd name="connsiteY164" fmla="*/ 559550 h 1214437"/>
                <a:gd name="connsiteX165" fmla="*/ 362418 w 1505727"/>
                <a:gd name="connsiteY165" fmla="*/ 547411 h 1214437"/>
                <a:gd name="connsiteX166" fmla="*/ 743933 w 1505727"/>
                <a:gd name="connsiteY166" fmla="*/ 250347 h 1214437"/>
                <a:gd name="connsiteX167" fmla="*/ 738988 w 1505727"/>
                <a:gd name="connsiteY167" fmla="*/ 0 h 1214437"/>
                <a:gd name="connsiteX168" fmla="*/ 762664 w 1505727"/>
                <a:gd name="connsiteY168" fmla="*/ 0 h 1214437"/>
                <a:gd name="connsiteX169" fmla="*/ 953500 w 1505727"/>
                <a:gd name="connsiteY169" fmla="*/ 0 h 1214437"/>
                <a:gd name="connsiteX170" fmla="*/ 956370 w 1505727"/>
                <a:gd name="connsiteY170" fmla="*/ 7131 h 1214437"/>
                <a:gd name="connsiteX171" fmla="*/ 907584 w 1505727"/>
                <a:gd name="connsiteY171" fmla="*/ 55620 h 1214437"/>
                <a:gd name="connsiteX172" fmla="*/ 907584 w 1505727"/>
                <a:gd name="connsiteY172" fmla="*/ 61325 h 1214437"/>
                <a:gd name="connsiteX173" fmla="*/ 956370 w 1505727"/>
                <a:gd name="connsiteY173" fmla="*/ 109814 h 1214437"/>
                <a:gd name="connsiteX174" fmla="*/ 953500 w 1505727"/>
                <a:gd name="connsiteY174" fmla="*/ 116944 h 1214437"/>
                <a:gd name="connsiteX175" fmla="*/ 770555 w 1505727"/>
                <a:gd name="connsiteY175" fmla="*/ 116944 h 1214437"/>
                <a:gd name="connsiteX176" fmla="*/ 766968 w 1505727"/>
                <a:gd name="connsiteY176" fmla="*/ 120510 h 1214437"/>
                <a:gd name="connsiteX177" fmla="*/ 766968 w 1505727"/>
                <a:gd name="connsiteY177" fmla="*/ 214636 h 1214437"/>
                <a:gd name="connsiteX178" fmla="*/ 761946 w 1505727"/>
                <a:gd name="connsiteY178" fmla="*/ 211070 h 1214437"/>
                <a:gd name="connsiteX179" fmla="*/ 743293 w 1505727"/>
                <a:gd name="connsiteY179" fmla="*/ 211070 h 1214437"/>
                <a:gd name="connsiteX180" fmla="*/ 735401 w 1505727"/>
                <a:gd name="connsiteY180" fmla="*/ 217488 h 1214437"/>
                <a:gd name="connsiteX181" fmla="*/ 735401 w 1505727"/>
                <a:gd name="connsiteY181" fmla="*/ 116944 h 1214437"/>
                <a:gd name="connsiteX182" fmla="*/ 735401 w 1505727"/>
                <a:gd name="connsiteY182" fmla="*/ 4279 h 1214437"/>
                <a:gd name="connsiteX183" fmla="*/ 738988 w 1505727"/>
                <a:gd name="connsiteY183" fmla="*/ 0 h 1214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1505727" h="1214437">
                  <a:moveTo>
                    <a:pt x="350794" y="1090612"/>
                  </a:moveTo>
                  <a:cubicBezTo>
                    <a:pt x="1154933" y="1090612"/>
                    <a:pt x="1154933" y="1090612"/>
                    <a:pt x="1154933" y="1090612"/>
                  </a:cubicBezTo>
                  <a:cubicBezTo>
                    <a:pt x="1162796" y="1090612"/>
                    <a:pt x="1169944" y="1097017"/>
                    <a:pt x="1169944" y="1105557"/>
                  </a:cubicBezTo>
                  <a:cubicBezTo>
                    <a:pt x="1169944" y="1126194"/>
                    <a:pt x="1169944" y="1126194"/>
                    <a:pt x="1169944" y="1126194"/>
                  </a:cubicBezTo>
                  <a:cubicBezTo>
                    <a:pt x="1214976" y="1126194"/>
                    <a:pt x="1214976" y="1126194"/>
                    <a:pt x="1214976" y="1126194"/>
                  </a:cubicBezTo>
                  <a:cubicBezTo>
                    <a:pt x="1223553" y="1126194"/>
                    <a:pt x="1230701" y="1133310"/>
                    <a:pt x="1230701" y="1141850"/>
                  </a:cubicBezTo>
                  <a:cubicBezTo>
                    <a:pt x="1230701" y="1199493"/>
                    <a:pt x="1230701" y="1199493"/>
                    <a:pt x="1230701" y="1199493"/>
                  </a:cubicBezTo>
                  <a:cubicBezTo>
                    <a:pt x="1230701" y="1208032"/>
                    <a:pt x="1223553" y="1214437"/>
                    <a:pt x="1214976" y="1214437"/>
                  </a:cubicBezTo>
                  <a:cubicBezTo>
                    <a:pt x="290751" y="1214437"/>
                    <a:pt x="290751" y="1214437"/>
                    <a:pt x="290751" y="1214437"/>
                  </a:cubicBezTo>
                  <a:cubicBezTo>
                    <a:pt x="282174" y="1214437"/>
                    <a:pt x="275026" y="1208032"/>
                    <a:pt x="275026" y="1199493"/>
                  </a:cubicBezTo>
                  <a:cubicBezTo>
                    <a:pt x="275026" y="1141850"/>
                    <a:pt x="275026" y="1141850"/>
                    <a:pt x="275026" y="1141850"/>
                  </a:cubicBezTo>
                  <a:cubicBezTo>
                    <a:pt x="275026" y="1133310"/>
                    <a:pt x="282174" y="1126194"/>
                    <a:pt x="290751" y="1126194"/>
                  </a:cubicBezTo>
                  <a:cubicBezTo>
                    <a:pt x="335783" y="1126194"/>
                    <a:pt x="335783" y="1126194"/>
                    <a:pt x="335783" y="1126194"/>
                  </a:cubicBezTo>
                  <a:cubicBezTo>
                    <a:pt x="335783" y="1105557"/>
                    <a:pt x="335783" y="1105557"/>
                    <a:pt x="335783" y="1105557"/>
                  </a:cubicBezTo>
                  <a:cubicBezTo>
                    <a:pt x="335783" y="1097017"/>
                    <a:pt x="342931" y="1090612"/>
                    <a:pt x="350794" y="1090612"/>
                  </a:cubicBezTo>
                  <a:close/>
                  <a:moveTo>
                    <a:pt x="674282" y="736600"/>
                  </a:moveTo>
                  <a:cubicBezTo>
                    <a:pt x="831444" y="736600"/>
                    <a:pt x="831444" y="736600"/>
                    <a:pt x="831444" y="736600"/>
                  </a:cubicBezTo>
                  <a:cubicBezTo>
                    <a:pt x="835731" y="736600"/>
                    <a:pt x="838588" y="739449"/>
                    <a:pt x="838588" y="743723"/>
                  </a:cubicBezTo>
                  <a:cubicBezTo>
                    <a:pt x="838588" y="1048566"/>
                    <a:pt x="838588" y="1048566"/>
                    <a:pt x="838588" y="1048566"/>
                  </a:cubicBezTo>
                  <a:cubicBezTo>
                    <a:pt x="838588" y="1052839"/>
                    <a:pt x="835731" y="1055688"/>
                    <a:pt x="831444" y="1055688"/>
                  </a:cubicBezTo>
                  <a:cubicBezTo>
                    <a:pt x="674282" y="1055688"/>
                    <a:pt x="674282" y="1055688"/>
                    <a:pt x="674282" y="1055688"/>
                  </a:cubicBezTo>
                  <a:cubicBezTo>
                    <a:pt x="669995" y="1055688"/>
                    <a:pt x="667138" y="1052839"/>
                    <a:pt x="667138" y="1048566"/>
                  </a:cubicBezTo>
                  <a:cubicBezTo>
                    <a:pt x="667138" y="743723"/>
                    <a:pt x="667138" y="743723"/>
                    <a:pt x="667138" y="743723"/>
                  </a:cubicBezTo>
                  <a:cubicBezTo>
                    <a:pt x="667138" y="739449"/>
                    <a:pt x="669995" y="736600"/>
                    <a:pt x="674282" y="736600"/>
                  </a:cubicBezTo>
                  <a:close/>
                  <a:moveTo>
                    <a:pt x="1306142" y="730250"/>
                  </a:moveTo>
                  <a:cubicBezTo>
                    <a:pt x="1306142" y="730250"/>
                    <a:pt x="1306142" y="730250"/>
                    <a:pt x="1374335" y="730250"/>
                  </a:cubicBezTo>
                  <a:cubicBezTo>
                    <a:pt x="1378642" y="730250"/>
                    <a:pt x="1381513" y="733121"/>
                    <a:pt x="1381513" y="737428"/>
                  </a:cubicBezTo>
                  <a:cubicBezTo>
                    <a:pt x="1381513" y="737428"/>
                    <a:pt x="1381513" y="737428"/>
                    <a:pt x="1381513" y="805622"/>
                  </a:cubicBezTo>
                  <a:cubicBezTo>
                    <a:pt x="1381513" y="809929"/>
                    <a:pt x="1378642" y="812800"/>
                    <a:pt x="1374335" y="812800"/>
                  </a:cubicBezTo>
                  <a:cubicBezTo>
                    <a:pt x="1374335" y="812800"/>
                    <a:pt x="1374335" y="812800"/>
                    <a:pt x="1306142" y="812800"/>
                  </a:cubicBezTo>
                  <a:cubicBezTo>
                    <a:pt x="1302552" y="812800"/>
                    <a:pt x="1298963" y="809929"/>
                    <a:pt x="1298963" y="805622"/>
                  </a:cubicBezTo>
                  <a:cubicBezTo>
                    <a:pt x="1298963" y="805622"/>
                    <a:pt x="1298963" y="805622"/>
                    <a:pt x="1298963" y="737428"/>
                  </a:cubicBezTo>
                  <a:cubicBezTo>
                    <a:pt x="1298963" y="733121"/>
                    <a:pt x="1302552" y="730250"/>
                    <a:pt x="1306142" y="730250"/>
                  </a:cubicBezTo>
                  <a:close/>
                  <a:moveTo>
                    <a:pt x="1188529" y="730250"/>
                  </a:moveTo>
                  <a:cubicBezTo>
                    <a:pt x="1188529" y="730250"/>
                    <a:pt x="1188529" y="730250"/>
                    <a:pt x="1255411" y="730250"/>
                  </a:cubicBezTo>
                  <a:cubicBezTo>
                    <a:pt x="1259635" y="730250"/>
                    <a:pt x="1262451" y="733121"/>
                    <a:pt x="1262451" y="737428"/>
                  </a:cubicBezTo>
                  <a:cubicBezTo>
                    <a:pt x="1262451" y="737428"/>
                    <a:pt x="1262451" y="737428"/>
                    <a:pt x="1262451" y="805622"/>
                  </a:cubicBezTo>
                  <a:cubicBezTo>
                    <a:pt x="1262451" y="809929"/>
                    <a:pt x="1259635" y="812800"/>
                    <a:pt x="1255411" y="812800"/>
                  </a:cubicBezTo>
                  <a:cubicBezTo>
                    <a:pt x="1255411" y="812800"/>
                    <a:pt x="1255411" y="812800"/>
                    <a:pt x="1188529" y="812800"/>
                  </a:cubicBezTo>
                  <a:cubicBezTo>
                    <a:pt x="1184304" y="812800"/>
                    <a:pt x="1181488" y="809929"/>
                    <a:pt x="1181488" y="805622"/>
                  </a:cubicBezTo>
                  <a:cubicBezTo>
                    <a:pt x="1181488" y="805622"/>
                    <a:pt x="1181488" y="805622"/>
                    <a:pt x="1181488" y="737428"/>
                  </a:cubicBezTo>
                  <a:cubicBezTo>
                    <a:pt x="1181488" y="733121"/>
                    <a:pt x="1184304" y="730250"/>
                    <a:pt x="1188529" y="730250"/>
                  </a:cubicBezTo>
                  <a:close/>
                  <a:moveTo>
                    <a:pt x="248866" y="730250"/>
                  </a:moveTo>
                  <a:cubicBezTo>
                    <a:pt x="248866" y="730250"/>
                    <a:pt x="248866" y="730250"/>
                    <a:pt x="317059" y="730250"/>
                  </a:cubicBezTo>
                  <a:cubicBezTo>
                    <a:pt x="321366" y="730250"/>
                    <a:pt x="324238" y="733121"/>
                    <a:pt x="324238" y="737428"/>
                  </a:cubicBezTo>
                  <a:cubicBezTo>
                    <a:pt x="324238" y="737428"/>
                    <a:pt x="324238" y="737428"/>
                    <a:pt x="324238" y="805622"/>
                  </a:cubicBezTo>
                  <a:cubicBezTo>
                    <a:pt x="324238" y="809929"/>
                    <a:pt x="321366" y="812800"/>
                    <a:pt x="317059" y="812800"/>
                  </a:cubicBezTo>
                  <a:cubicBezTo>
                    <a:pt x="317059" y="812800"/>
                    <a:pt x="317059" y="812800"/>
                    <a:pt x="248866" y="812800"/>
                  </a:cubicBezTo>
                  <a:cubicBezTo>
                    <a:pt x="244559" y="812800"/>
                    <a:pt x="241688" y="809929"/>
                    <a:pt x="241688" y="805622"/>
                  </a:cubicBezTo>
                  <a:cubicBezTo>
                    <a:pt x="241688" y="805622"/>
                    <a:pt x="241688" y="805622"/>
                    <a:pt x="241688" y="737428"/>
                  </a:cubicBezTo>
                  <a:cubicBezTo>
                    <a:pt x="241688" y="733121"/>
                    <a:pt x="244559" y="730250"/>
                    <a:pt x="248866" y="730250"/>
                  </a:cubicBezTo>
                  <a:close/>
                  <a:moveTo>
                    <a:pt x="131253" y="730250"/>
                  </a:moveTo>
                  <a:cubicBezTo>
                    <a:pt x="131253" y="730250"/>
                    <a:pt x="131253" y="730250"/>
                    <a:pt x="198135" y="730250"/>
                  </a:cubicBezTo>
                  <a:cubicBezTo>
                    <a:pt x="201656" y="730250"/>
                    <a:pt x="205176" y="733121"/>
                    <a:pt x="205176" y="737428"/>
                  </a:cubicBezTo>
                  <a:cubicBezTo>
                    <a:pt x="205176" y="737428"/>
                    <a:pt x="205176" y="737428"/>
                    <a:pt x="205176" y="805622"/>
                  </a:cubicBezTo>
                  <a:cubicBezTo>
                    <a:pt x="205176" y="809929"/>
                    <a:pt x="201656" y="812800"/>
                    <a:pt x="198135" y="812800"/>
                  </a:cubicBezTo>
                  <a:cubicBezTo>
                    <a:pt x="198135" y="812800"/>
                    <a:pt x="198135" y="812800"/>
                    <a:pt x="131253" y="812800"/>
                  </a:cubicBezTo>
                  <a:cubicBezTo>
                    <a:pt x="127029" y="812800"/>
                    <a:pt x="124213" y="809929"/>
                    <a:pt x="124213" y="805622"/>
                  </a:cubicBezTo>
                  <a:cubicBezTo>
                    <a:pt x="124213" y="805622"/>
                    <a:pt x="124213" y="805622"/>
                    <a:pt x="124213" y="737428"/>
                  </a:cubicBezTo>
                  <a:cubicBezTo>
                    <a:pt x="124213" y="733121"/>
                    <a:pt x="127029" y="730250"/>
                    <a:pt x="131253" y="730250"/>
                  </a:cubicBezTo>
                  <a:close/>
                  <a:moveTo>
                    <a:pt x="983051" y="638175"/>
                  </a:moveTo>
                  <a:cubicBezTo>
                    <a:pt x="1019615" y="638175"/>
                    <a:pt x="1049726" y="667369"/>
                    <a:pt x="1049726" y="703683"/>
                  </a:cubicBezTo>
                  <a:cubicBezTo>
                    <a:pt x="1049726" y="703683"/>
                    <a:pt x="1049726" y="703683"/>
                    <a:pt x="1049726" y="928688"/>
                  </a:cubicBezTo>
                  <a:cubicBezTo>
                    <a:pt x="1049726" y="928688"/>
                    <a:pt x="1049726" y="928688"/>
                    <a:pt x="916376" y="928688"/>
                  </a:cubicBezTo>
                  <a:cubicBezTo>
                    <a:pt x="916376" y="928688"/>
                    <a:pt x="916376" y="928688"/>
                    <a:pt x="916376" y="703683"/>
                  </a:cubicBezTo>
                  <a:cubicBezTo>
                    <a:pt x="916376" y="667369"/>
                    <a:pt x="946488" y="638175"/>
                    <a:pt x="983051" y="638175"/>
                  </a:cubicBezTo>
                  <a:close/>
                  <a:moveTo>
                    <a:pt x="522676" y="638175"/>
                  </a:moveTo>
                  <a:cubicBezTo>
                    <a:pt x="559239" y="638175"/>
                    <a:pt x="589351" y="667369"/>
                    <a:pt x="589351" y="703683"/>
                  </a:cubicBezTo>
                  <a:cubicBezTo>
                    <a:pt x="589351" y="703683"/>
                    <a:pt x="589351" y="703683"/>
                    <a:pt x="589351" y="928688"/>
                  </a:cubicBezTo>
                  <a:cubicBezTo>
                    <a:pt x="589351" y="928688"/>
                    <a:pt x="589351" y="928688"/>
                    <a:pt x="456001" y="928688"/>
                  </a:cubicBezTo>
                  <a:cubicBezTo>
                    <a:pt x="456001" y="928688"/>
                    <a:pt x="456001" y="928688"/>
                    <a:pt x="456001" y="703683"/>
                  </a:cubicBezTo>
                  <a:cubicBezTo>
                    <a:pt x="456001" y="667369"/>
                    <a:pt x="486112" y="638175"/>
                    <a:pt x="522676" y="638175"/>
                  </a:cubicBezTo>
                  <a:close/>
                  <a:moveTo>
                    <a:pt x="1306142" y="614362"/>
                  </a:moveTo>
                  <a:cubicBezTo>
                    <a:pt x="1306142" y="614362"/>
                    <a:pt x="1306142" y="614362"/>
                    <a:pt x="1374335" y="614362"/>
                  </a:cubicBezTo>
                  <a:cubicBezTo>
                    <a:pt x="1378642" y="614362"/>
                    <a:pt x="1381513" y="617233"/>
                    <a:pt x="1381513" y="621540"/>
                  </a:cubicBezTo>
                  <a:cubicBezTo>
                    <a:pt x="1381513" y="621540"/>
                    <a:pt x="1381513" y="621540"/>
                    <a:pt x="1381513" y="689734"/>
                  </a:cubicBezTo>
                  <a:cubicBezTo>
                    <a:pt x="1381513" y="694041"/>
                    <a:pt x="1378642" y="696912"/>
                    <a:pt x="1374335" y="696912"/>
                  </a:cubicBezTo>
                  <a:cubicBezTo>
                    <a:pt x="1374335" y="696912"/>
                    <a:pt x="1374335" y="696912"/>
                    <a:pt x="1306142" y="696912"/>
                  </a:cubicBezTo>
                  <a:cubicBezTo>
                    <a:pt x="1302552" y="696912"/>
                    <a:pt x="1298963" y="694041"/>
                    <a:pt x="1298963" y="689734"/>
                  </a:cubicBezTo>
                  <a:cubicBezTo>
                    <a:pt x="1298963" y="689734"/>
                    <a:pt x="1298963" y="689734"/>
                    <a:pt x="1298963" y="621540"/>
                  </a:cubicBezTo>
                  <a:cubicBezTo>
                    <a:pt x="1298963" y="617233"/>
                    <a:pt x="1302552" y="614362"/>
                    <a:pt x="1306142" y="614362"/>
                  </a:cubicBezTo>
                  <a:close/>
                  <a:moveTo>
                    <a:pt x="1188529" y="614362"/>
                  </a:moveTo>
                  <a:cubicBezTo>
                    <a:pt x="1188529" y="614362"/>
                    <a:pt x="1188529" y="614362"/>
                    <a:pt x="1255411" y="614362"/>
                  </a:cubicBezTo>
                  <a:cubicBezTo>
                    <a:pt x="1259635" y="614362"/>
                    <a:pt x="1262451" y="617233"/>
                    <a:pt x="1262451" y="621540"/>
                  </a:cubicBezTo>
                  <a:cubicBezTo>
                    <a:pt x="1262451" y="621540"/>
                    <a:pt x="1262451" y="621540"/>
                    <a:pt x="1262451" y="689734"/>
                  </a:cubicBezTo>
                  <a:cubicBezTo>
                    <a:pt x="1262451" y="694041"/>
                    <a:pt x="1259635" y="696912"/>
                    <a:pt x="1255411" y="696912"/>
                  </a:cubicBezTo>
                  <a:cubicBezTo>
                    <a:pt x="1255411" y="696912"/>
                    <a:pt x="1255411" y="696912"/>
                    <a:pt x="1188529" y="696912"/>
                  </a:cubicBezTo>
                  <a:cubicBezTo>
                    <a:pt x="1184304" y="696912"/>
                    <a:pt x="1181488" y="694041"/>
                    <a:pt x="1181488" y="689734"/>
                  </a:cubicBezTo>
                  <a:cubicBezTo>
                    <a:pt x="1181488" y="689734"/>
                    <a:pt x="1181488" y="689734"/>
                    <a:pt x="1181488" y="621540"/>
                  </a:cubicBezTo>
                  <a:cubicBezTo>
                    <a:pt x="1181488" y="617233"/>
                    <a:pt x="1184304" y="614362"/>
                    <a:pt x="1188529" y="614362"/>
                  </a:cubicBezTo>
                  <a:close/>
                  <a:moveTo>
                    <a:pt x="248866" y="614362"/>
                  </a:moveTo>
                  <a:cubicBezTo>
                    <a:pt x="248866" y="614362"/>
                    <a:pt x="248866" y="614362"/>
                    <a:pt x="317059" y="614362"/>
                  </a:cubicBezTo>
                  <a:cubicBezTo>
                    <a:pt x="321366" y="614362"/>
                    <a:pt x="324238" y="617233"/>
                    <a:pt x="324238" y="621540"/>
                  </a:cubicBezTo>
                  <a:cubicBezTo>
                    <a:pt x="324238" y="621540"/>
                    <a:pt x="324238" y="621540"/>
                    <a:pt x="324238" y="689734"/>
                  </a:cubicBezTo>
                  <a:cubicBezTo>
                    <a:pt x="324238" y="694041"/>
                    <a:pt x="321366" y="696912"/>
                    <a:pt x="317059" y="696912"/>
                  </a:cubicBezTo>
                  <a:cubicBezTo>
                    <a:pt x="317059" y="696912"/>
                    <a:pt x="317059" y="696912"/>
                    <a:pt x="248866" y="696912"/>
                  </a:cubicBezTo>
                  <a:cubicBezTo>
                    <a:pt x="244559" y="696912"/>
                    <a:pt x="241688" y="694041"/>
                    <a:pt x="241688" y="689734"/>
                  </a:cubicBezTo>
                  <a:cubicBezTo>
                    <a:pt x="241688" y="689734"/>
                    <a:pt x="241688" y="689734"/>
                    <a:pt x="241688" y="621540"/>
                  </a:cubicBezTo>
                  <a:cubicBezTo>
                    <a:pt x="241688" y="617233"/>
                    <a:pt x="244559" y="614362"/>
                    <a:pt x="248866" y="614362"/>
                  </a:cubicBezTo>
                  <a:close/>
                  <a:moveTo>
                    <a:pt x="131253" y="614362"/>
                  </a:moveTo>
                  <a:cubicBezTo>
                    <a:pt x="131253" y="614362"/>
                    <a:pt x="131253" y="614362"/>
                    <a:pt x="198135" y="614362"/>
                  </a:cubicBezTo>
                  <a:cubicBezTo>
                    <a:pt x="201656" y="614362"/>
                    <a:pt x="205176" y="617233"/>
                    <a:pt x="205176" y="621540"/>
                  </a:cubicBezTo>
                  <a:cubicBezTo>
                    <a:pt x="205176" y="621540"/>
                    <a:pt x="205176" y="621540"/>
                    <a:pt x="205176" y="689734"/>
                  </a:cubicBezTo>
                  <a:cubicBezTo>
                    <a:pt x="205176" y="694041"/>
                    <a:pt x="201656" y="696912"/>
                    <a:pt x="198135" y="696912"/>
                  </a:cubicBezTo>
                  <a:cubicBezTo>
                    <a:pt x="198135" y="696912"/>
                    <a:pt x="198135" y="696912"/>
                    <a:pt x="131253" y="696912"/>
                  </a:cubicBezTo>
                  <a:cubicBezTo>
                    <a:pt x="127029" y="696912"/>
                    <a:pt x="124213" y="694041"/>
                    <a:pt x="124213" y="689734"/>
                  </a:cubicBezTo>
                  <a:cubicBezTo>
                    <a:pt x="124213" y="689734"/>
                    <a:pt x="124213" y="689734"/>
                    <a:pt x="124213" y="621540"/>
                  </a:cubicBezTo>
                  <a:cubicBezTo>
                    <a:pt x="124213" y="617233"/>
                    <a:pt x="127029" y="614362"/>
                    <a:pt x="131253" y="614362"/>
                  </a:cubicBezTo>
                  <a:close/>
                  <a:moveTo>
                    <a:pt x="1434315" y="561975"/>
                  </a:moveTo>
                  <a:cubicBezTo>
                    <a:pt x="1465651" y="561975"/>
                    <a:pt x="1465651" y="561975"/>
                    <a:pt x="1465651" y="561975"/>
                  </a:cubicBezTo>
                  <a:cubicBezTo>
                    <a:pt x="1465651" y="951081"/>
                    <a:pt x="1465651" y="951081"/>
                    <a:pt x="1465651" y="951081"/>
                  </a:cubicBezTo>
                  <a:cubicBezTo>
                    <a:pt x="1465651" y="959649"/>
                    <a:pt x="1459242" y="966788"/>
                    <a:pt x="1449983" y="966788"/>
                  </a:cubicBezTo>
                  <a:cubicBezTo>
                    <a:pt x="1181488" y="966788"/>
                    <a:pt x="1181488" y="966788"/>
                    <a:pt x="1181488" y="966788"/>
                  </a:cubicBezTo>
                  <a:cubicBezTo>
                    <a:pt x="1181488" y="935374"/>
                    <a:pt x="1181488" y="935374"/>
                    <a:pt x="1181488" y="935374"/>
                  </a:cubicBezTo>
                  <a:cubicBezTo>
                    <a:pt x="1434315" y="935374"/>
                    <a:pt x="1434315" y="935374"/>
                    <a:pt x="1434315" y="935374"/>
                  </a:cubicBezTo>
                  <a:cubicBezTo>
                    <a:pt x="1434315" y="561975"/>
                    <a:pt x="1434315" y="561975"/>
                    <a:pt x="1434315" y="561975"/>
                  </a:cubicBezTo>
                  <a:close/>
                  <a:moveTo>
                    <a:pt x="40076" y="561975"/>
                  </a:moveTo>
                  <a:cubicBezTo>
                    <a:pt x="40076" y="561975"/>
                    <a:pt x="40076" y="561975"/>
                    <a:pt x="71491" y="561975"/>
                  </a:cubicBezTo>
                  <a:cubicBezTo>
                    <a:pt x="71491" y="561975"/>
                    <a:pt x="71491" y="561975"/>
                    <a:pt x="71491" y="935374"/>
                  </a:cubicBezTo>
                  <a:cubicBezTo>
                    <a:pt x="71491" y="935374"/>
                    <a:pt x="71491" y="935374"/>
                    <a:pt x="324239" y="935374"/>
                  </a:cubicBezTo>
                  <a:cubicBezTo>
                    <a:pt x="324239" y="935374"/>
                    <a:pt x="324239" y="935374"/>
                    <a:pt x="324239" y="966788"/>
                  </a:cubicBezTo>
                  <a:cubicBezTo>
                    <a:pt x="324239" y="966788"/>
                    <a:pt x="324239" y="966788"/>
                    <a:pt x="55783" y="966788"/>
                  </a:cubicBezTo>
                  <a:cubicBezTo>
                    <a:pt x="46502" y="966788"/>
                    <a:pt x="40076" y="959649"/>
                    <a:pt x="40076" y="951081"/>
                  </a:cubicBezTo>
                  <a:cubicBezTo>
                    <a:pt x="40076" y="951081"/>
                    <a:pt x="40076" y="951081"/>
                    <a:pt x="40076" y="561975"/>
                  </a:cubicBezTo>
                  <a:close/>
                  <a:moveTo>
                    <a:pt x="750274" y="474662"/>
                  </a:moveTo>
                  <a:cubicBezTo>
                    <a:pt x="745302" y="474662"/>
                    <a:pt x="741751" y="478982"/>
                    <a:pt x="741751" y="483301"/>
                  </a:cubicBezTo>
                  <a:cubicBezTo>
                    <a:pt x="741751" y="527936"/>
                    <a:pt x="741751" y="527936"/>
                    <a:pt x="741751" y="527936"/>
                  </a:cubicBezTo>
                  <a:cubicBezTo>
                    <a:pt x="741751" y="532976"/>
                    <a:pt x="745302" y="536575"/>
                    <a:pt x="750274" y="536575"/>
                  </a:cubicBezTo>
                  <a:cubicBezTo>
                    <a:pt x="787204" y="536575"/>
                    <a:pt x="787204" y="536575"/>
                    <a:pt x="787204" y="536575"/>
                  </a:cubicBezTo>
                  <a:cubicBezTo>
                    <a:pt x="791465" y="536575"/>
                    <a:pt x="795726" y="532976"/>
                    <a:pt x="795726" y="527936"/>
                  </a:cubicBezTo>
                  <a:cubicBezTo>
                    <a:pt x="795726" y="523617"/>
                    <a:pt x="791465" y="519297"/>
                    <a:pt x="787204" y="519297"/>
                  </a:cubicBezTo>
                  <a:cubicBezTo>
                    <a:pt x="758796" y="519297"/>
                    <a:pt x="758796" y="519297"/>
                    <a:pt x="758796" y="519297"/>
                  </a:cubicBezTo>
                  <a:cubicBezTo>
                    <a:pt x="758796" y="483301"/>
                    <a:pt x="758796" y="483301"/>
                    <a:pt x="758796" y="483301"/>
                  </a:cubicBezTo>
                  <a:cubicBezTo>
                    <a:pt x="758796" y="478982"/>
                    <a:pt x="755245" y="474662"/>
                    <a:pt x="750274" y="474662"/>
                  </a:cubicBezTo>
                  <a:close/>
                  <a:moveTo>
                    <a:pt x="752863" y="455612"/>
                  </a:moveTo>
                  <a:cubicBezTo>
                    <a:pt x="791440" y="455612"/>
                    <a:pt x="822713" y="486885"/>
                    <a:pt x="822713" y="525462"/>
                  </a:cubicBezTo>
                  <a:cubicBezTo>
                    <a:pt x="822713" y="564039"/>
                    <a:pt x="791440" y="595312"/>
                    <a:pt x="752863" y="595312"/>
                  </a:cubicBezTo>
                  <a:cubicBezTo>
                    <a:pt x="714286" y="595312"/>
                    <a:pt x="683013" y="564039"/>
                    <a:pt x="683013" y="525462"/>
                  </a:cubicBezTo>
                  <a:cubicBezTo>
                    <a:pt x="683013" y="486885"/>
                    <a:pt x="714286" y="455612"/>
                    <a:pt x="752863" y="455612"/>
                  </a:cubicBezTo>
                  <a:close/>
                  <a:moveTo>
                    <a:pt x="935426" y="344487"/>
                  </a:moveTo>
                  <a:cubicBezTo>
                    <a:pt x="935426" y="344487"/>
                    <a:pt x="935426" y="344487"/>
                    <a:pt x="1273900" y="344487"/>
                  </a:cubicBezTo>
                  <a:cubicBezTo>
                    <a:pt x="1273900" y="344487"/>
                    <a:pt x="1273900" y="344487"/>
                    <a:pt x="1498836" y="507798"/>
                  </a:cubicBezTo>
                  <a:cubicBezTo>
                    <a:pt x="1511689" y="517151"/>
                    <a:pt x="1505262" y="536575"/>
                    <a:pt x="1490267" y="536575"/>
                  </a:cubicBezTo>
                  <a:cubicBezTo>
                    <a:pt x="1490267" y="536575"/>
                    <a:pt x="1490267" y="536575"/>
                    <a:pt x="1178928" y="536575"/>
                  </a:cubicBezTo>
                  <a:cubicBezTo>
                    <a:pt x="1178214" y="535136"/>
                    <a:pt x="1176785" y="532978"/>
                    <a:pt x="1174643" y="532259"/>
                  </a:cubicBezTo>
                  <a:cubicBezTo>
                    <a:pt x="1174643" y="532259"/>
                    <a:pt x="1174643" y="532259"/>
                    <a:pt x="935426" y="344487"/>
                  </a:cubicBezTo>
                  <a:close/>
                  <a:moveTo>
                    <a:pt x="231112" y="344487"/>
                  </a:moveTo>
                  <a:cubicBezTo>
                    <a:pt x="231112" y="344487"/>
                    <a:pt x="231112" y="344487"/>
                    <a:pt x="570301" y="344487"/>
                  </a:cubicBezTo>
                  <a:cubicBezTo>
                    <a:pt x="570301" y="344487"/>
                    <a:pt x="570301" y="344487"/>
                    <a:pt x="330370" y="532259"/>
                  </a:cubicBezTo>
                  <a:cubicBezTo>
                    <a:pt x="328227" y="532978"/>
                    <a:pt x="326799" y="535136"/>
                    <a:pt x="326085" y="536575"/>
                  </a:cubicBezTo>
                  <a:cubicBezTo>
                    <a:pt x="326085" y="536575"/>
                    <a:pt x="326085" y="536575"/>
                    <a:pt x="15460" y="536575"/>
                  </a:cubicBezTo>
                  <a:cubicBezTo>
                    <a:pt x="464" y="536575"/>
                    <a:pt x="-5962" y="517151"/>
                    <a:pt x="6891" y="507798"/>
                  </a:cubicBezTo>
                  <a:cubicBezTo>
                    <a:pt x="6891" y="507798"/>
                    <a:pt x="6891" y="507798"/>
                    <a:pt x="231112" y="344487"/>
                  </a:cubicBezTo>
                  <a:close/>
                  <a:moveTo>
                    <a:pt x="743933" y="250347"/>
                  </a:moveTo>
                  <a:cubicBezTo>
                    <a:pt x="748934" y="246062"/>
                    <a:pt x="757507" y="246062"/>
                    <a:pt x="762508" y="250347"/>
                  </a:cubicBezTo>
                  <a:cubicBezTo>
                    <a:pt x="762508" y="250347"/>
                    <a:pt x="762508" y="250347"/>
                    <a:pt x="1143308" y="547411"/>
                  </a:cubicBezTo>
                  <a:cubicBezTo>
                    <a:pt x="1147595" y="550267"/>
                    <a:pt x="1149738" y="555266"/>
                    <a:pt x="1149738" y="559550"/>
                  </a:cubicBezTo>
                  <a:cubicBezTo>
                    <a:pt x="1149738" y="559550"/>
                    <a:pt x="1149738" y="559550"/>
                    <a:pt x="1149738" y="1057275"/>
                  </a:cubicBezTo>
                  <a:cubicBezTo>
                    <a:pt x="1149738" y="1057275"/>
                    <a:pt x="1149738" y="1057275"/>
                    <a:pt x="1118303" y="1057275"/>
                  </a:cubicBezTo>
                  <a:cubicBezTo>
                    <a:pt x="1118303" y="1057275"/>
                    <a:pt x="1118303" y="1057275"/>
                    <a:pt x="1118303" y="567405"/>
                  </a:cubicBezTo>
                  <a:cubicBezTo>
                    <a:pt x="1118303" y="567405"/>
                    <a:pt x="1118303" y="567405"/>
                    <a:pt x="753220" y="282481"/>
                  </a:cubicBezTo>
                  <a:cubicBezTo>
                    <a:pt x="753220" y="282481"/>
                    <a:pt x="753220" y="282481"/>
                    <a:pt x="387423" y="567405"/>
                  </a:cubicBezTo>
                  <a:cubicBezTo>
                    <a:pt x="387423" y="567405"/>
                    <a:pt x="387423" y="567405"/>
                    <a:pt x="387423" y="1057275"/>
                  </a:cubicBezTo>
                  <a:cubicBezTo>
                    <a:pt x="387423" y="1057275"/>
                    <a:pt x="387423" y="1057275"/>
                    <a:pt x="355988" y="1057275"/>
                  </a:cubicBezTo>
                  <a:cubicBezTo>
                    <a:pt x="355988" y="1057275"/>
                    <a:pt x="355988" y="1057275"/>
                    <a:pt x="355988" y="559550"/>
                  </a:cubicBezTo>
                  <a:cubicBezTo>
                    <a:pt x="355988" y="555266"/>
                    <a:pt x="358131" y="550267"/>
                    <a:pt x="362418" y="547411"/>
                  </a:cubicBezTo>
                  <a:cubicBezTo>
                    <a:pt x="362418" y="547411"/>
                    <a:pt x="362418" y="547411"/>
                    <a:pt x="743933" y="250347"/>
                  </a:cubicBezTo>
                  <a:close/>
                  <a:moveTo>
                    <a:pt x="738988" y="0"/>
                  </a:moveTo>
                  <a:cubicBezTo>
                    <a:pt x="738988" y="0"/>
                    <a:pt x="738988" y="0"/>
                    <a:pt x="762664" y="0"/>
                  </a:cubicBezTo>
                  <a:cubicBezTo>
                    <a:pt x="762664" y="0"/>
                    <a:pt x="762664" y="0"/>
                    <a:pt x="953500" y="0"/>
                  </a:cubicBezTo>
                  <a:cubicBezTo>
                    <a:pt x="957087" y="0"/>
                    <a:pt x="959239" y="4279"/>
                    <a:pt x="956370" y="7131"/>
                  </a:cubicBezTo>
                  <a:cubicBezTo>
                    <a:pt x="956370" y="7131"/>
                    <a:pt x="956370" y="7131"/>
                    <a:pt x="907584" y="55620"/>
                  </a:cubicBezTo>
                  <a:cubicBezTo>
                    <a:pt x="906149" y="57046"/>
                    <a:pt x="906149" y="59898"/>
                    <a:pt x="907584" y="61325"/>
                  </a:cubicBezTo>
                  <a:cubicBezTo>
                    <a:pt x="907584" y="61325"/>
                    <a:pt x="907584" y="61325"/>
                    <a:pt x="956370" y="109814"/>
                  </a:cubicBezTo>
                  <a:cubicBezTo>
                    <a:pt x="959239" y="112666"/>
                    <a:pt x="957087" y="116944"/>
                    <a:pt x="953500" y="116944"/>
                  </a:cubicBezTo>
                  <a:cubicBezTo>
                    <a:pt x="953500" y="116944"/>
                    <a:pt x="953500" y="116944"/>
                    <a:pt x="770555" y="116944"/>
                  </a:cubicBezTo>
                  <a:cubicBezTo>
                    <a:pt x="768403" y="116944"/>
                    <a:pt x="766968" y="118371"/>
                    <a:pt x="766968" y="120510"/>
                  </a:cubicBezTo>
                  <a:cubicBezTo>
                    <a:pt x="766968" y="120510"/>
                    <a:pt x="766968" y="120510"/>
                    <a:pt x="766968" y="214636"/>
                  </a:cubicBezTo>
                  <a:cubicBezTo>
                    <a:pt x="766968" y="214636"/>
                    <a:pt x="766968" y="214636"/>
                    <a:pt x="761946" y="211070"/>
                  </a:cubicBezTo>
                  <a:cubicBezTo>
                    <a:pt x="756924" y="206792"/>
                    <a:pt x="748315" y="206792"/>
                    <a:pt x="743293" y="211070"/>
                  </a:cubicBezTo>
                  <a:cubicBezTo>
                    <a:pt x="743293" y="211070"/>
                    <a:pt x="743293" y="211070"/>
                    <a:pt x="735401" y="217488"/>
                  </a:cubicBezTo>
                  <a:cubicBezTo>
                    <a:pt x="735401" y="217488"/>
                    <a:pt x="735401" y="217488"/>
                    <a:pt x="735401" y="116944"/>
                  </a:cubicBezTo>
                  <a:cubicBezTo>
                    <a:pt x="735401" y="116944"/>
                    <a:pt x="735401" y="116944"/>
                    <a:pt x="735401" y="4279"/>
                  </a:cubicBezTo>
                  <a:cubicBezTo>
                    <a:pt x="735401" y="2139"/>
                    <a:pt x="736836" y="0"/>
                    <a:pt x="738988"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616B9EB6-6022-784C-918A-D07F639B2B41}"/>
              </a:ext>
            </a:extLst>
          </p:cNvPr>
          <p:cNvGrpSpPr>
            <a:grpSpLocks noChangeAspect="1"/>
          </p:cNvGrpSpPr>
          <p:nvPr/>
        </p:nvGrpSpPr>
        <p:grpSpPr>
          <a:xfrm>
            <a:off x="10151906" y="1541630"/>
            <a:ext cx="335171" cy="334847"/>
            <a:chOff x="2632075" y="2606675"/>
            <a:chExt cx="1646238" cy="1644650"/>
          </a:xfrm>
        </p:grpSpPr>
        <p:sp>
          <p:nvSpPr>
            <p:cNvPr id="17" name="AutoShape 3">
              <a:extLst>
                <a:ext uri="{FF2B5EF4-FFF2-40B4-BE49-F238E27FC236}">
                  <a16:creationId xmlns:a16="http://schemas.microsoft.com/office/drawing/2014/main" id="{3E3991FE-E7EB-6C4E-BDD2-438EB87A5D79}"/>
                </a:ext>
              </a:extLst>
            </p:cNvPr>
            <p:cNvSpPr>
              <a:spLocks noChangeAspect="1" noChangeArrowheads="1" noTextEdit="1"/>
            </p:cNvSpPr>
            <p:nvPr/>
          </p:nvSpPr>
          <p:spPr bwMode="auto">
            <a:xfrm>
              <a:off x="26320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Calibri"/>
                <a:ea typeface="+mn-ea"/>
                <a:cs typeface="+mn-cs"/>
              </a:endParaRPr>
            </a:p>
          </p:txBody>
        </p:sp>
        <p:sp>
          <p:nvSpPr>
            <p:cNvPr id="18" name="Freeform 7">
              <a:extLst>
                <a:ext uri="{FF2B5EF4-FFF2-40B4-BE49-F238E27FC236}">
                  <a16:creationId xmlns:a16="http://schemas.microsoft.com/office/drawing/2014/main" id="{9EA6EBB5-459B-6B4D-900F-62C95A9B9E2E}"/>
                </a:ext>
              </a:extLst>
            </p:cNvPr>
            <p:cNvSpPr>
              <a:spLocks/>
            </p:cNvSpPr>
            <p:nvPr/>
          </p:nvSpPr>
          <p:spPr bwMode="auto">
            <a:xfrm>
              <a:off x="2773651" y="2884488"/>
              <a:ext cx="1363087" cy="1133475"/>
            </a:xfrm>
            <a:custGeom>
              <a:avLst/>
              <a:gdLst>
                <a:gd name="connsiteX0" fmla="*/ 61624 w 1363087"/>
                <a:gd name="connsiteY0" fmla="*/ 779462 h 1133475"/>
                <a:gd name="connsiteX1" fmla="*/ 356899 w 1363087"/>
                <a:gd name="connsiteY1" fmla="*/ 779462 h 1133475"/>
                <a:gd name="connsiteX2" fmla="*/ 209261 w 1363087"/>
                <a:gd name="connsiteY2" fmla="*/ 920750 h 1133475"/>
                <a:gd name="connsiteX3" fmla="*/ 61624 w 1363087"/>
                <a:gd name="connsiteY3" fmla="*/ 779462 h 1133475"/>
                <a:gd name="connsiteX4" fmla="*/ 1006187 w 1363087"/>
                <a:gd name="connsiteY4" fmla="*/ 579437 h 1133475"/>
                <a:gd name="connsiteX5" fmla="*/ 1301462 w 1363087"/>
                <a:gd name="connsiteY5" fmla="*/ 579437 h 1133475"/>
                <a:gd name="connsiteX6" fmla="*/ 1153825 w 1363087"/>
                <a:gd name="connsiteY6" fmla="*/ 722312 h 1133475"/>
                <a:gd name="connsiteX7" fmla="*/ 1006187 w 1363087"/>
                <a:gd name="connsiteY7" fmla="*/ 579437 h 1133475"/>
                <a:gd name="connsiteX8" fmla="*/ 208905 w 1363087"/>
                <a:gd name="connsiteY8" fmla="*/ 261937 h 1133475"/>
                <a:gd name="connsiteX9" fmla="*/ 70531 w 1363087"/>
                <a:gd name="connsiteY9" fmla="*/ 658583 h 1133475"/>
                <a:gd name="connsiteX10" fmla="*/ 36294 w 1363087"/>
                <a:gd name="connsiteY10" fmla="*/ 756317 h 1133475"/>
                <a:gd name="connsiteX11" fmla="*/ 32727 w 1363087"/>
                <a:gd name="connsiteY11" fmla="*/ 804115 h 1133475"/>
                <a:gd name="connsiteX12" fmla="*/ 208905 w 1363087"/>
                <a:gd name="connsiteY12" fmla="*/ 952500 h 1133475"/>
                <a:gd name="connsiteX13" fmla="*/ 385796 w 1363087"/>
                <a:gd name="connsiteY13" fmla="*/ 804115 h 1133475"/>
                <a:gd name="connsiteX14" fmla="*/ 381516 w 1363087"/>
                <a:gd name="connsiteY14" fmla="*/ 756317 h 1133475"/>
                <a:gd name="connsiteX15" fmla="*/ 347993 w 1363087"/>
                <a:gd name="connsiteY15" fmla="*/ 658583 h 1133475"/>
                <a:gd name="connsiteX16" fmla="*/ 572405 w 1363087"/>
                <a:gd name="connsiteY16" fmla="*/ 93662 h 1133475"/>
                <a:gd name="connsiteX17" fmla="*/ 570977 w 1363087"/>
                <a:gd name="connsiteY17" fmla="*/ 114373 h 1133475"/>
                <a:gd name="connsiteX18" fmla="*/ 570977 w 1363087"/>
                <a:gd name="connsiteY18" fmla="*/ 126515 h 1133475"/>
                <a:gd name="connsiteX19" fmla="*/ 425263 w 1363087"/>
                <a:gd name="connsiteY19" fmla="*/ 168651 h 1133475"/>
                <a:gd name="connsiteX20" fmla="*/ 575977 w 1363087"/>
                <a:gd name="connsiteY20" fmla="*/ 147940 h 1133475"/>
                <a:gd name="connsiteX21" fmla="*/ 590262 w 1363087"/>
                <a:gd name="connsiteY21" fmla="*/ 177222 h 1133475"/>
                <a:gd name="connsiteX22" fmla="*/ 230979 w 1363087"/>
                <a:gd name="connsiteY22" fmla="*/ 226500 h 1133475"/>
                <a:gd name="connsiteX23" fmla="*/ 378121 w 1363087"/>
                <a:gd name="connsiteY23" fmla="*/ 647869 h 1133475"/>
                <a:gd name="connsiteX24" fmla="*/ 412406 w 1363087"/>
                <a:gd name="connsiteY24" fmla="*/ 746427 h 1133475"/>
                <a:gd name="connsiteX25" fmla="*/ 417406 w 1363087"/>
                <a:gd name="connsiteY25" fmla="*/ 809275 h 1133475"/>
                <a:gd name="connsiteX26" fmla="*/ 209551 w 1363087"/>
                <a:gd name="connsiteY26" fmla="*/ 984250 h 1133475"/>
                <a:gd name="connsiteX27" fmla="*/ 1696 w 1363087"/>
                <a:gd name="connsiteY27" fmla="*/ 809275 h 1133475"/>
                <a:gd name="connsiteX28" fmla="*/ 7410 w 1363087"/>
                <a:gd name="connsiteY28" fmla="*/ 746427 h 1133475"/>
                <a:gd name="connsiteX29" fmla="*/ 40981 w 1363087"/>
                <a:gd name="connsiteY29" fmla="*/ 647869 h 1133475"/>
                <a:gd name="connsiteX30" fmla="*/ 195265 w 1363087"/>
                <a:gd name="connsiteY30" fmla="*/ 208646 h 1133475"/>
                <a:gd name="connsiteX31" fmla="*/ 195265 w 1363087"/>
                <a:gd name="connsiteY31" fmla="*/ 207217 h 1133475"/>
                <a:gd name="connsiteX32" fmla="*/ 195980 w 1363087"/>
                <a:gd name="connsiteY32" fmla="*/ 205789 h 1133475"/>
                <a:gd name="connsiteX33" fmla="*/ 196694 w 1363087"/>
                <a:gd name="connsiteY33" fmla="*/ 205075 h 1133475"/>
                <a:gd name="connsiteX34" fmla="*/ 197408 w 1363087"/>
                <a:gd name="connsiteY34" fmla="*/ 203647 h 1133475"/>
                <a:gd name="connsiteX35" fmla="*/ 198122 w 1363087"/>
                <a:gd name="connsiteY35" fmla="*/ 202932 h 1133475"/>
                <a:gd name="connsiteX36" fmla="*/ 199551 w 1363087"/>
                <a:gd name="connsiteY36" fmla="*/ 201504 h 1133475"/>
                <a:gd name="connsiteX37" fmla="*/ 200265 w 1363087"/>
                <a:gd name="connsiteY37" fmla="*/ 200790 h 1133475"/>
                <a:gd name="connsiteX38" fmla="*/ 202408 w 1363087"/>
                <a:gd name="connsiteY38" fmla="*/ 200076 h 1133475"/>
                <a:gd name="connsiteX39" fmla="*/ 202408 w 1363087"/>
                <a:gd name="connsiteY39" fmla="*/ 199361 h 1133475"/>
                <a:gd name="connsiteX40" fmla="*/ 205265 w 1363087"/>
                <a:gd name="connsiteY40" fmla="*/ 198647 h 1133475"/>
                <a:gd name="connsiteX41" fmla="*/ 572405 w 1363087"/>
                <a:gd name="connsiteY41" fmla="*/ 93662 h 1133475"/>
                <a:gd name="connsiteX42" fmla="*/ 1154181 w 1363087"/>
                <a:gd name="connsiteY42" fmla="*/ 63500 h 1133475"/>
                <a:gd name="connsiteX43" fmla="*/ 1015094 w 1363087"/>
                <a:gd name="connsiteY43" fmla="*/ 460146 h 1133475"/>
                <a:gd name="connsiteX44" fmla="*/ 981570 w 1363087"/>
                <a:gd name="connsiteY44" fmla="*/ 557880 h 1133475"/>
                <a:gd name="connsiteX45" fmla="*/ 977290 w 1363087"/>
                <a:gd name="connsiteY45" fmla="*/ 605678 h 1133475"/>
                <a:gd name="connsiteX46" fmla="*/ 1154181 w 1363087"/>
                <a:gd name="connsiteY46" fmla="*/ 754063 h 1133475"/>
                <a:gd name="connsiteX47" fmla="*/ 1330359 w 1363087"/>
                <a:gd name="connsiteY47" fmla="*/ 605678 h 1133475"/>
                <a:gd name="connsiteX48" fmla="*/ 1326793 w 1363087"/>
                <a:gd name="connsiteY48" fmla="*/ 557880 h 1133475"/>
                <a:gd name="connsiteX49" fmla="*/ 1292556 w 1363087"/>
                <a:gd name="connsiteY49" fmla="*/ 460146 h 1133475"/>
                <a:gd name="connsiteX50" fmla="*/ 1154181 w 1363087"/>
                <a:gd name="connsiteY50" fmla="*/ 63500 h 1133475"/>
                <a:gd name="connsiteX51" fmla="*/ 681186 w 1363087"/>
                <a:gd name="connsiteY51" fmla="*/ 34925 h 1133475"/>
                <a:gd name="connsiteX52" fmla="*/ 686191 w 1363087"/>
                <a:gd name="connsiteY52" fmla="*/ 34925 h 1133475"/>
                <a:gd name="connsiteX53" fmla="*/ 735524 w 1363087"/>
                <a:gd name="connsiteY53" fmla="*/ 56353 h 1133475"/>
                <a:gd name="connsiteX54" fmla="*/ 755544 w 1363087"/>
                <a:gd name="connsiteY54" fmla="*/ 84924 h 1133475"/>
                <a:gd name="connsiteX55" fmla="*/ 760549 w 1363087"/>
                <a:gd name="connsiteY55" fmla="*/ 109924 h 1133475"/>
                <a:gd name="connsiteX56" fmla="*/ 760549 w 1363087"/>
                <a:gd name="connsiteY56" fmla="*/ 111352 h 1133475"/>
                <a:gd name="connsiteX57" fmla="*/ 754114 w 1363087"/>
                <a:gd name="connsiteY57" fmla="*/ 145637 h 1133475"/>
                <a:gd name="connsiteX58" fmla="*/ 721940 w 1363087"/>
                <a:gd name="connsiteY58" fmla="*/ 182779 h 1133475"/>
                <a:gd name="connsiteX59" fmla="*/ 721940 w 1363087"/>
                <a:gd name="connsiteY59" fmla="*/ 1022763 h 1133475"/>
                <a:gd name="connsiteX60" fmla="*/ 734094 w 1363087"/>
                <a:gd name="connsiteY60" fmla="*/ 1037763 h 1133475"/>
                <a:gd name="connsiteX61" fmla="*/ 991488 w 1363087"/>
                <a:gd name="connsiteY61" fmla="*/ 1102762 h 1133475"/>
                <a:gd name="connsiteX62" fmla="*/ 987913 w 1363087"/>
                <a:gd name="connsiteY62" fmla="*/ 1133475 h 1133475"/>
                <a:gd name="connsiteX63" fmla="*/ 375174 w 1363087"/>
                <a:gd name="connsiteY63" fmla="*/ 1133475 h 1133475"/>
                <a:gd name="connsiteX64" fmla="*/ 371599 w 1363087"/>
                <a:gd name="connsiteY64" fmla="*/ 1102762 h 1133475"/>
                <a:gd name="connsiteX65" fmla="*/ 632567 w 1363087"/>
                <a:gd name="connsiteY65" fmla="*/ 1037763 h 1133475"/>
                <a:gd name="connsiteX66" fmla="*/ 644722 w 1363087"/>
                <a:gd name="connsiteY66" fmla="*/ 1022763 h 1133475"/>
                <a:gd name="connsiteX67" fmla="*/ 644722 w 1363087"/>
                <a:gd name="connsiteY67" fmla="*/ 184922 h 1133475"/>
                <a:gd name="connsiteX68" fmla="*/ 626847 w 1363087"/>
                <a:gd name="connsiteY68" fmla="*/ 172065 h 1133475"/>
                <a:gd name="connsiteX69" fmla="*/ 606828 w 1363087"/>
                <a:gd name="connsiteY69" fmla="*/ 143494 h 1133475"/>
                <a:gd name="connsiteX70" fmla="*/ 601823 w 1363087"/>
                <a:gd name="connsiteY70" fmla="*/ 117781 h 1133475"/>
                <a:gd name="connsiteX71" fmla="*/ 601823 w 1363087"/>
                <a:gd name="connsiteY71" fmla="*/ 114209 h 1133475"/>
                <a:gd name="connsiteX72" fmla="*/ 607543 w 1363087"/>
                <a:gd name="connsiteY72" fmla="*/ 82781 h 1133475"/>
                <a:gd name="connsiteX73" fmla="*/ 681186 w 1363087"/>
                <a:gd name="connsiteY73" fmla="*/ 34925 h 1133475"/>
                <a:gd name="connsiteX74" fmla="*/ 1151392 w 1363087"/>
                <a:gd name="connsiteY74" fmla="*/ 0 h 1133475"/>
                <a:gd name="connsiteX75" fmla="*/ 1152107 w 1363087"/>
                <a:gd name="connsiteY75" fmla="*/ 0 h 1133475"/>
                <a:gd name="connsiteX76" fmla="*/ 1153535 w 1363087"/>
                <a:gd name="connsiteY76" fmla="*/ 0 h 1133475"/>
                <a:gd name="connsiteX77" fmla="*/ 1154964 w 1363087"/>
                <a:gd name="connsiteY77" fmla="*/ 0 h 1133475"/>
                <a:gd name="connsiteX78" fmla="*/ 1156392 w 1363087"/>
                <a:gd name="connsiteY78" fmla="*/ 714 h 1133475"/>
                <a:gd name="connsiteX79" fmla="*/ 1157821 w 1363087"/>
                <a:gd name="connsiteY79" fmla="*/ 714 h 1133475"/>
                <a:gd name="connsiteX80" fmla="*/ 1159250 w 1363087"/>
                <a:gd name="connsiteY80" fmla="*/ 1428 h 1133475"/>
                <a:gd name="connsiteX81" fmla="*/ 1159964 w 1363087"/>
                <a:gd name="connsiteY81" fmla="*/ 1428 h 1133475"/>
                <a:gd name="connsiteX82" fmla="*/ 1162107 w 1363087"/>
                <a:gd name="connsiteY82" fmla="*/ 2855 h 1133475"/>
                <a:gd name="connsiteX83" fmla="*/ 1162821 w 1363087"/>
                <a:gd name="connsiteY83" fmla="*/ 2855 h 1133475"/>
                <a:gd name="connsiteX84" fmla="*/ 1164250 w 1363087"/>
                <a:gd name="connsiteY84" fmla="*/ 4996 h 1133475"/>
                <a:gd name="connsiteX85" fmla="*/ 1164964 w 1363087"/>
                <a:gd name="connsiteY85" fmla="*/ 5710 h 1133475"/>
                <a:gd name="connsiteX86" fmla="*/ 1166392 w 1363087"/>
                <a:gd name="connsiteY86" fmla="*/ 7137 h 1133475"/>
                <a:gd name="connsiteX87" fmla="*/ 1166392 w 1363087"/>
                <a:gd name="connsiteY87" fmla="*/ 7851 h 1133475"/>
                <a:gd name="connsiteX88" fmla="*/ 1167821 w 1363087"/>
                <a:gd name="connsiteY88" fmla="*/ 9279 h 1133475"/>
                <a:gd name="connsiteX89" fmla="*/ 1167821 w 1363087"/>
                <a:gd name="connsiteY89" fmla="*/ 9992 h 1133475"/>
                <a:gd name="connsiteX90" fmla="*/ 1167821 w 1363087"/>
                <a:gd name="connsiteY90" fmla="*/ 10706 h 1133475"/>
                <a:gd name="connsiteX91" fmla="*/ 1322105 w 1363087"/>
                <a:gd name="connsiteY91" fmla="*/ 450362 h 1133475"/>
                <a:gd name="connsiteX92" fmla="*/ 1355677 w 1363087"/>
                <a:gd name="connsiteY92" fmla="*/ 548142 h 1133475"/>
                <a:gd name="connsiteX93" fmla="*/ 1361391 w 1363087"/>
                <a:gd name="connsiteY93" fmla="*/ 610950 h 1133475"/>
                <a:gd name="connsiteX94" fmla="*/ 1153535 w 1363087"/>
                <a:gd name="connsiteY94" fmla="*/ 785813 h 1133475"/>
                <a:gd name="connsiteX95" fmla="*/ 945680 w 1363087"/>
                <a:gd name="connsiteY95" fmla="*/ 610950 h 1133475"/>
                <a:gd name="connsiteX96" fmla="*/ 950680 w 1363087"/>
                <a:gd name="connsiteY96" fmla="*/ 548142 h 1133475"/>
                <a:gd name="connsiteX97" fmla="*/ 984965 w 1363087"/>
                <a:gd name="connsiteY97" fmla="*/ 450362 h 1133475"/>
                <a:gd name="connsiteX98" fmla="*/ 1128536 w 1363087"/>
                <a:gd name="connsiteY98" fmla="*/ 39255 h 1133475"/>
                <a:gd name="connsiteX99" fmla="*/ 790681 w 1363087"/>
                <a:gd name="connsiteY99" fmla="*/ 136322 h 1133475"/>
                <a:gd name="connsiteX100" fmla="*/ 792110 w 1363087"/>
                <a:gd name="connsiteY100" fmla="*/ 109200 h 1133475"/>
                <a:gd name="connsiteX101" fmla="*/ 792110 w 1363087"/>
                <a:gd name="connsiteY101" fmla="*/ 102777 h 1133475"/>
                <a:gd name="connsiteX102" fmla="*/ 937823 w 1363087"/>
                <a:gd name="connsiteY102" fmla="*/ 61381 h 1133475"/>
                <a:gd name="connsiteX103" fmla="*/ 787110 w 1363087"/>
                <a:gd name="connsiteY103" fmla="*/ 81365 h 1133475"/>
                <a:gd name="connsiteX104" fmla="*/ 772824 w 1363087"/>
                <a:gd name="connsiteY104" fmla="*/ 52102 h 1133475"/>
                <a:gd name="connsiteX105" fmla="*/ 1151392 w 1363087"/>
                <a:gd name="connsiteY105" fmla="*/ 0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63087" h="1133475">
                  <a:moveTo>
                    <a:pt x="61624" y="779462"/>
                  </a:moveTo>
                  <a:cubicBezTo>
                    <a:pt x="61624" y="779462"/>
                    <a:pt x="61624" y="779462"/>
                    <a:pt x="356899" y="779462"/>
                  </a:cubicBezTo>
                  <a:cubicBezTo>
                    <a:pt x="354759" y="857171"/>
                    <a:pt x="288429" y="920750"/>
                    <a:pt x="209261" y="920750"/>
                  </a:cubicBezTo>
                  <a:cubicBezTo>
                    <a:pt x="130807" y="920750"/>
                    <a:pt x="64477" y="857171"/>
                    <a:pt x="61624" y="779462"/>
                  </a:cubicBezTo>
                  <a:close/>
                  <a:moveTo>
                    <a:pt x="1006187" y="579437"/>
                  </a:moveTo>
                  <a:cubicBezTo>
                    <a:pt x="1006187" y="579437"/>
                    <a:pt x="1006187" y="579437"/>
                    <a:pt x="1301462" y="579437"/>
                  </a:cubicBezTo>
                  <a:cubicBezTo>
                    <a:pt x="1298609" y="658018"/>
                    <a:pt x="1232279" y="722312"/>
                    <a:pt x="1153825" y="722312"/>
                  </a:cubicBezTo>
                  <a:cubicBezTo>
                    <a:pt x="1074657" y="722312"/>
                    <a:pt x="1008327" y="658018"/>
                    <a:pt x="1006187" y="579437"/>
                  </a:cubicBezTo>
                  <a:close/>
                  <a:moveTo>
                    <a:pt x="208905" y="261937"/>
                  </a:moveTo>
                  <a:cubicBezTo>
                    <a:pt x="208905" y="261937"/>
                    <a:pt x="208905" y="261937"/>
                    <a:pt x="70531" y="658583"/>
                  </a:cubicBezTo>
                  <a:cubicBezTo>
                    <a:pt x="70531" y="658583"/>
                    <a:pt x="70531" y="658583"/>
                    <a:pt x="36294" y="756317"/>
                  </a:cubicBezTo>
                  <a:cubicBezTo>
                    <a:pt x="31301" y="772012"/>
                    <a:pt x="29874" y="788420"/>
                    <a:pt x="32727" y="804115"/>
                  </a:cubicBezTo>
                  <a:cubicBezTo>
                    <a:pt x="46993" y="889722"/>
                    <a:pt x="121173" y="952500"/>
                    <a:pt x="208905" y="952500"/>
                  </a:cubicBezTo>
                  <a:cubicBezTo>
                    <a:pt x="296637" y="952500"/>
                    <a:pt x="370817" y="889722"/>
                    <a:pt x="385796" y="804115"/>
                  </a:cubicBezTo>
                  <a:cubicBezTo>
                    <a:pt x="388649" y="788420"/>
                    <a:pt x="387223" y="772012"/>
                    <a:pt x="381516" y="756317"/>
                  </a:cubicBezTo>
                  <a:cubicBezTo>
                    <a:pt x="381516" y="756317"/>
                    <a:pt x="381516" y="756317"/>
                    <a:pt x="347993" y="658583"/>
                  </a:cubicBezTo>
                  <a:close/>
                  <a:moveTo>
                    <a:pt x="572405" y="93662"/>
                  </a:moveTo>
                  <a:cubicBezTo>
                    <a:pt x="571691" y="100090"/>
                    <a:pt x="570977" y="107232"/>
                    <a:pt x="570977" y="114373"/>
                  </a:cubicBezTo>
                  <a:cubicBezTo>
                    <a:pt x="570977" y="118659"/>
                    <a:pt x="570977" y="122230"/>
                    <a:pt x="570977" y="126515"/>
                  </a:cubicBezTo>
                  <a:cubicBezTo>
                    <a:pt x="570977" y="126515"/>
                    <a:pt x="570977" y="126515"/>
                    <a:pt x="425263" y="168651"/>
                  </a:cubicBezTo>
                  <a:cubicBezTo>
                    <a:pt x="425263" y="168651"/>
                    <a:pt x="425263" y="168651"/>
                    <a:pt x="575977" y="147940"/>
                  </a:cubicBezTo>
                  <a:cubicBezTo>
                    <a:pt x="578834" y="158653"/>
                    <a:pt x="583834" y="168651"/>
                    <a:pt x="590262" y="177222"/>
                  </a:cubicBezTo>
                  <a:cubicBezTo>
                    <a:pt x="590262" y="177222"/>
                    <a:pt x="590262" y="177222"/>
                    <a:pt x="230979" y="226500"/>
                  </a:cubicBezTo>
                  <a:cubicBezTo>
                    <a:pt x="230979" y="226500"/>
                    <a:pt x="230979" y="226500"/>
                    <a:pt x="378121" y="647869"/>
                  </a:cubicBezTo>
                  <a:cubicBezTo>
                    <a:pt x="378121" y="647869"/>
                    <a:pt x="378121" y="647869"/>
                    <a:pt x="412406" y="746427"/>
                  </a:cubicBezTo>
                  <a:cubicBezTo>
                    <a:pt x="419549" y="766424"/>
                    <a:pt x="420978" y="788564"/>
                    <a:pt x="417406" y="809275"/>
                  </a:cubicBezTo>
                  <a:cubicBezTo>
                    <a:pt x="400264" y="910689"/>
                    <a:pt x="313122" y="984250"/>
                    <a:pt x="209551" y="984250"/>
                  </a:cubicBezTo>
                  <a:cubicBezTo>
                    <a:pt x="106695" y="984250"/>
                    <a:pt x="19553" y="910689"/>
                    <a:pt x="1696" y="809275"/>
                  </a:cubicBezTo>
                  <a:cubicBezTo>
                    <a:pt x="-1876" y="788564"/>
                    <a:pt x="267" y="766424"/>
                    <a:pt x="7410" y="746427"/>
                  </a:cubicBezTo>
                  <a:cubicBezTo>
                    <a:pt x="7410" y="746427"/>
                    <a:pt x="7410" y="746427"/>
                    <a:pt x="40981" y="647869"/>
                  </a:cubicBezTo>
                  <a:cubicBezTo>
                    <a:pt x="40981" y="647869"/>
                    <a:pt x="40981" y="647869"/>
                    <a:pt x="195265" y="208646"/>
                  </a:cubicBezTo>
                  <a:cubicBezTo>
                    <a:pt x="195265" y="207932"/>
                    <a:pt x="195265" y="207932"/>
                    <a:pt x="195265" y="207217"/>
                  </a:cubicBezTo>
                  <a:cubicBezTo>
                    <a:pt x="195265" y="207217"/>
                    <a:pt x="195980" y="206503"/>
                    <a:pt x="195980" y="205789"/>
                  </a:cubicBezTo>
                  <a:cubicBezTo>
                    <a:pt x="195980" y="205789"/>
                    <a:pt x="196694" y="205075"/>
                    <a:pt x="196694" y="205075"/>
                  </a:cubicBezTo>
                  <a:cubicBezTo>
                    <a:pt x="196694" y="204361"/>
                    <a:pt x="197408" y="204361"/>
                    <a:pt x="197408" y="203647"/>
                  </a:cubicBezTo>
                  <a:cubicBezTo>
                    <a:pt x="198122" y="203647"/>
                    <a:pt x="198122" y="202932"/>
                    <a:pt x="198122" y="202932"/>
                  </a:cubicBezTo>
                  <a:cubicBezTo>
                    <a:pt x="198837" y="202218"/>
                    <a:pt x="198837" y="202218"/>
                    <a:pt x="199551" y="201504"/>
                  </a:cubicBezTo>
                  <a:cubicBezTo>
                    <a:pt x="199551" y="201504"/>
                    <a:pt x="200265" y="201504"/>
                    <a:pt x="200265" y="200790"/>
                  </a:cubicBezTo>
                  <a:cubicBezTo>
                    <a:pt x="200980" y="200790"/>
                    <a:pt x="201694" y="200076"/>
                    <a:pt x="202408" y="200076"/>
                  </a:cubicBezTo>
                  <a:cubicBezTo>
                    <a:pt x="202408" y="200076"/>
                    <a:pt x="202408" y="199361"/>
                    <a:pt x="202408" y="199361"/>
                  </a:cubicBezTo>
                  <a:cubicBezTo>
                    <a:pt x="203122" y="199361"/>
                    <a:pt x="204551" y="198647"/>
                    <a:pt x="205265" y="198647"/>
                  </a:cubicBezTo>
                  <a:cubicBezTo>
                    <a:pt x="205265" y="198647"/>
                    <a:pt x="205265" y="198647"/>
                    <a:pt x="572405" y="93662"/>
                  </a:cubicBezTo>
                  <a:close/>
                  <a:moveTo>
                    <a:pt x="1154181" y="63500"/>
                  </a:moveTo>
                  <a:cubicBezTo>
                    <a:pt x="1154181" y="63500"/>
                    <a:pt x="1154181" y="63500"/>
                    <a:pt x="1015094" y="460146"/>
                  </a:cubicBezTo>
                  <a:cubicBezTo>
                    <a:pt x="1015094" y="460146"/>
                    <a:pt x="1015094" y="460146"/>
                    <a:pt x="981570" y="557880"/>
                  </a:cubicBezTo>
                  <a:cubicBezTo>
                    <a:pt x="975864" y="573575"/>
                    <a:pt x="974437" y="589983"/>
                    <a:pt x="977290" y="605678"/>
                  </a:cubicBezTo>
                  <a:cubicBezTo>
                    <a:pt x="992269" y="691998"/>
                    <a:pt x="1066449" y="754063"/>
                    <a:pt x="1154181" y="754063"/>
                  </a:cubicBezTo>
                  <a:cubicBezTo>
                    <a:pt x="1241914" y="754063"/>
                    <a:pt x="1316094" y="691998"/>
                    <a:pt x="1330359" y="605678"/>
                  </a:cubicBezTo>
                  <a:cubicBezTo>
                    <a:pt x="1333212" y="589983"/>
                    <a:pt x="1331786" y="573575"/>
                    <a:pt x="1326793" y="557880"/>
                  </a:cubicBezTo>
                  <a:cubicBezTo>
                    <a:pt x="1326793" y="557880"/>
                    <a:pt x="1326793" y="557880"/>
                    <a:pt x="1292556" y="460146"/>
                  </a:cubicBezTo>
                  <a:cubicBezTo>
                    <a:pt x="1292556" y="460146"/>
                    <a:pt x="1292556" y="460146"/>
                    <a:pt x="1154181" y="63500"/>
                  </a:cubicBezTo>
                  <a:close/>
                  <a:moveTo>
                    <a:pt x="681186" y="34925"/>
                  </a:moveTo>
                  <a:cubicBezTo>
                    <a:pt x="682616" y="34925"/>
                    <a:pt x="684761" y="34925"/>
                    <a:pt x="686191" y="34925"/>
                  </a:cubicBezTo>
                  <a:cubicBezTo>
                    <a:pt x="705495" y="36354"/>
                    <a:pt x="722655" y="44211"/>
                    <a:pt x="735524" y="56353"/>
                  </a:cubicBezTo>
                  <a:cubicBezTo>
                    <a:pt x="744104" y="64210"/>
                    <a:pt x="751254" y="74210"/>
                    <a:pt x="755544" y="84924"/>
                  </a:cubicBezTo>
                  <a:cubicBezTo>
                    <a:pt x="758404" y="92781"/>
                    <a:pt x="760549" y="101352"/>
                    <a:pt x="760549" y="109924"/>
                  </a:cubicBezTo>
                  <a:cubicBezTo>
                    <a:pt x="760549" y="110638"/>
                    <a:pt x="760549" y="110638"/>
                    <a:pt x="760549" y="111352"/>
                  </a:cubicBezTo>
                  <a:cubicBezTo>
                    <a:pt x="761264" y="123495"/>
                    <a:pt x="759119" y="134923"/>
                    <a:pt x="754114" y="145637"/>
                  </a:cubicBezTo>
                  <a:cubicBezTo>
                    <a:pt x="747679" y="161351"/>
                    <a:pt x="736239" y="174208"/>
                    <a:pt x="721940" y="182779"/>
                  </a:cubicBezTo>
                  <a:cubicBezTo>
                    <a:pt x="721940" y="182779"/>
                    <a:pt x="721940" y="182779"/>
                    <a:pt x="721940" y="1022763"/>
                  </a:cubicBezTo>
                  <a:cubicBezTo>
                    <a:pt x="721940" y="1029906"/>
                    <a:pt x="726944" y="1036334"/>
                    <a:pt x="734094" y="1037763"/>
                  </a:cubicBezTo>
                  <a:cubicBezTo>
                    <a:pt x="734094" y="1037763"/>
                    <a:pt x="734094" y="1037763"/>
                    <a:pt x="991488" y="1102762"/>
                  </a:cubicBezTo>
                  <a:cubicBezTo>
                    <a:pt x="1009362" y="1107047"/>
                    <a:pt x="1006502" y="1133475"/>
                    <a:pt x="987913" y="1133475"/>
                  </a:cubicBezTo>
                  <a:cubicBezTo>
                    <a:pt x="987913" y="1133475"/>
                    <a:pt x="987913" y="1133475"/>
                    <a:pt x="375174" y="1133475"/>
                  </a:cubicBezTo>
                  <a:cubicBezTo>
                    <a:pt x="356584" y="1133475"/>
                    <a:pt x="353724" y="1107047"/>
                    <a:pt x="371599" y="1102762"/>
                  </a:cubicBezTo>
                  <a:cubicBezTo>
                    <a:pt x="371599" y="1102762"/>
                    <a:pt x="371599" y="1102762"/>
                    <a:pt x="632567" y="1037763"/>
                  </a:cubicBezTo>
                  <a:cubicBezTo>
                    <a:pt x="639717" y="1036334"/>
                    <a:pt x="644722" y="1029906"/>
                    <a:pt x="644722" y="1022763"/>
                  </a:cubicBezTo>
                  <a:cubicBezTo>
                    <a:pt x="644722" y="1022763"/>
                    <a:pt x="644722" y="1022763"/>
                    <a:pt x="644722" y="184922"/>
                  </a:cubicBezTo>
                  <a:cubicBezTo>
                    <a:pt x="638287" y="182065"/>
                    <a:pt x="631852" y="177065"/>
                    <a:pt x="626847" y="172065"/>
                  </a:cubicBezTo>
                  <a:cubicBezTo>
                    <a:pt x="618267" y="164208"/>
                    <a:pt x="611117" y="154209"/>
                    <a:pt x="606828" y="143494"/>
                  </a:cubicBezTo>
                  <a:cubicBezTo>
                    <a:pt x="603968" y="135637"/>
                    <a:pt x="601823" y="126352"/>
                    <a:pt x="601823" y="117781"/>
                  </a:cubicBezTo>
                  <a:cubicBezTo>
                    <a:pt x="601823" y="116352"/>
                    <a:pt x="601823" y="115638"/>
                    <a:pt x="601823" y="114209"/>
                  </a:cubicBezTo>
                  <a:cubicBezTo>
                    <a:pt x="601823" y="103495"/>
                    <a:pt x="603968" y="92781"/>
                    <a:pt x="607543" y="82781"/>
                  </a:cubicBezTo>
                  <a:cubicBezTo>
                    <a:pt x="619697" y="54925"/>
                    <a:pt x="648297" y="34925"/>
                    <a:pt x="681186" y="34925"/>
                  </a:cubicBezTo>
                  <a:close/>
                  <a:moveTo>
                    <a:pt x="1151392" y="0"/>
                  </a:moveTo>
                  <a:cubicBezTo>
                    <a:pt x="1151392" y="0"/>
                    <a:pt x="1151392" y="0"/>
                    <a:pt x="1152107" y="0"/>
                  </a:cubicBezTo>
                  <a:cubicBezTo>
                    <a:pt x="1152107" y="0"/>
                    <a:pt x="1152821" y="0"/>
                    <a:pt x="1153535" y="0"/>
                  </a:cubicBezTo>
                  <a:cubicBezTo>
                    <a:pt x="1154250" y="0"/>
                    <a:pt x="1154250" y="0"/>
                    <a:pt x="1154964" y="0"/>
                  </a:cubicBezTo>
                  <a:cubicBezTo>
                    <a:pt x="1155678" y="0"/>
                    <a:pt x="1155678" y="714"/>
                    <a:pt x="1156392" y="714"/>
                  </a:cubicBezTo>
                  <a:cubicBezTo>
                    <a:pt x="1157107" y="714"/>
                    <a:pt x="1157107" y="714"/>
                    <a:pt x="1157821" y="714"/>
                  </a:cubicBezTo>
                  <a:cubicBezTo>
                    <a:pt x="1157821" y="714"/>
                    <a:pt x="1158535" y="1428"/>
                    <a:pt x="1159250" y="1428"/>
                  </a:cubicBezTo>
                  <a:cubicBezTo>
                    <a:pt x="1159250" y="1428"/>
                    <a:pt x="1159964" y="1428"/>
                    <a:pt x="1159964" y="1428"/>
                  </a:cubicBezTo>
                  <a:cubicBezTo>
                    <a:pt x="1160678" y="2141"/>
                    <a:pt x="1161392" y="2141"/>
                    <a:pt x="1162107" y="2855"/>
                  </a:cubicBezTo>
                  <a:cubicBezTo>
                    <a:pt x="1162107" y="2855"/>
                    <a:pt x="1162107" y="2855"/>
                    <a:pt x="1162821" y="2855"/>
                  </a:cubicBezTo>
                  <a:cubicBezTo>
                    <a:pt x="1163535" y="3569"/>
                    <a:pt x="1163535" y="4282"/>
                    <a:pt x="1164250" y="4996"/>
                  </a:cubicBezTo>
                  <a:cubicBezTo>
                    <a:pt x="1164964" y="4996"/>
                    <a:pt x="1164964" y="4996"/>
                    <a:pt x="1164964" y="5710"/>
                  </a:cubicBezTo>
                  <a:cubicBezTo>
                    <a:pt x="1165678" y="5710"/>
                    <a:pt x="1165678" y="6424"/>
                    <a:pt x="1166392" y="7137"/>
                  </a:cubicBezTo>
                  <a:cubicBezTo>
                    <a:pt x="1166392" y="7137"/>
                    <a:pt x="1166392" y="7137"/>
                    <a:pt x="1166392" y="7851"/>
                  </a:cubicBezTo>
                  <a:cubicBezTo>
                    <a:pt x="1167107" y="7851"/>
                    <a:pt x="1167107" y="8565"/>
                    <a:pt x="1167821" y="9279"/>
                  </a:cubicBezTo>
                  <a:cubicBezTo>
                    <a:pt x="1167821" y="9279"/>
                    <a:pt x="1167821" y="9992"/>
                    <a:pt x="1167821" y="9992"/>
                  </a:cubicBezTo>
                  <a:cubicBezTo>
                    <a:pt x="1167821" y="9992"/>
                    <a:pt x="1167821" y="10706"/>
                    <a:pt x="1167821" y="10706"/>
                  </a:cubicBezTo>
                  <a:cubicBezTo>
                    <a:pt x="1167821" y="10706"/>
                    <a:pt x="1167821" y="10706"/>
                    <a:pt x="1322105" y="450362"/>
                  </a:cubicBezTo>
                  <a:lnTo>
                    <a:pt x="1355677" y="548142"/>
                  </a:lnTo>
                  <a:cubicBezTo>
                    <a:pt x="1362819" y="568840"/>
                    <a:pt x="1364962" y="590252"/>
                    <a:pt x="1361391" y="610950"/>
                  </a:cubicBezTo>
                  <a:cubicBezTo>
                    <a:pt x="1343534" y="712299"/>
                    <a:pt x="1256392" y="785813"/>
                    <a:pt x="1153535" y="785813"/>
                  </a:cubicBezTo>
                  <a:cubicBezTo>
                    <a:pt x="1049965" y="785813"/>
                    <a:pt x="962823" y="712299"/>
                    <a:pt x="945680" y="610950"/>
                  </a:cubicBezTo>
                  <a:cubicBezTo>
                    <a:pt x="942108" y="590252"/>
                    <a:pt x="943537" y="568840"/>
                    <a:pt x="950680" y="548142"/>
                  </a:cubicBezTo>
                  <a:cubicBezTo>
                    <a:pt x="950680" y="548142"/>
                    <a:pt x="950680" y="548142"/>
                    <a:pt x="984965" y="450362"/>
                  </a:cubicBezTo>
                  <a:cubicBezTo>
                    <a:pt x="984965" y="450362"/>
                    <a:pt x="984965" y="450362"/>
                    <a:pt x="1128536" y="39255"/>
                  </a:cubicBezTo>
                  <a:cubicBezTo>
                    <a:pt x="1128536" y="39255"/>
                    <a:pt x="1128536" y="39255"/>
                    <a:pt x="790681" y="136322"/>
                  </a:cubicBezTo>
                  <a:cubicBezTo>
                    <a:pt x="792110" y="127043"/>
                    <a:pt x="792824" y="118479"/>
                    <a:pt x="792110" y="109200"/>
                  </a:cubicBezTo>
                  <a:cubicBezTo>
                    <a:pt x="792110" y="107059"/>
                    <a:pt x="792110" y="104918"/>
                    <a:pt x="792110" y="102777"/>
                  </a:cubicBezTo>
                  <a:cubicBezTo>
                    <a:pt x="792110" y="102777"/>
                    <a:pt x="792110" y="102777"/>
                    <a:pt x="937823" y="61381"/>
                  </a:cubicBezTo>
                  <a:cubicBezTo>
                    <a:pt x="937823" y="61381"/>
                    <a:pt x="937823" y="61381"/>
                    <a:pt x="787110" y="81365"/>
                  </a:cubicBezTo>
                  <a:cubicBezTo>
                    <a:pt x="784253" y="71373"/>
                    <a:pt x="779253" y="61381"/>
                    <a:pt x="772824" y="52102"/>
                  </a:cubicBezTo>
                  <a:cubicBezTo>
                    <a:pt x="772824" y="52102"/>
                    <a:pt x="772824" y="52102"/>
                    <a:pt x="1151392"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Calibri"/>
                <a:ea typeface="+mn-ea"/>
                <a:cs typeface="+mn-cs"/>
              </a:endParaRPr>
            </a:p>
          </p:txBody>
        </p:sp>
      </p:grpSp>
      <p:sp>
        <p:nvSpPr>
          <p:cNvPr id="19" name="ee4pFootnotes">
            <a:extLst>
              <a:ext uri="{FF2B5EF4-FFF2-40B4-BE49-F238E27FC236}">
                <a16:creationId xmlns:a16="http://schemas.microsoft.com/office/drawing/2014/main" id="{99E4C472-4F4C-934F-BF95-842B9E56AFB4}"/>
              </a:ext>
            </a:extLst>
          </p:cNvPr>
          <p:cNvSpPr>
            <a:spLocks noChangeArrowheads="1"/>
          </p:cNvSpPr>
          <p:nvPr/>
        </p:nvSpPr>
        <p:spPr bwMode="auto">
          <a:xfrm>
            <a:off x="416477" y="6086387"/>
            <a:ext cx="4231723"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n-ea"/>
                <a:cs typeface="+mn-cs"/>
                <a:sym typeface="+mn-lt"/>
              </a:rPr>
              <a:t>Source: </a:t>
            </a:r>
            <a:r>
              <a:rPr kumimoji="0" lang="en-US" sz="1000" b="0"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n-ea"/>
                <a:cs typeface="+mn-cs"/>
                <a:sym typeface="+mn-lt"/>
                <a:hlinkClick r:id="rId3"/>
              </a:rPr>
              <a:t>KDHE guidance for the use and interpretation of SARS-CoV-2 antigen tests</a:t>
            </a:r>
            <a:endParaRPr kumimoji="0" lang="en-US" sz="1000" b="0"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38415522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ID" val="3wQKW8nz"/>
  <p:tag name="EE4P_STYLE_NAME" val="Kansas Grid 16: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heme/theme1.xml><?xml version="1.0" encoding="utf-8"?>
<a:theme xmlns:a="http://schemas.openxmlformats.org/drawingml/2006/main" name="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2.xml><?xml version="1.0" encoding="utf-8"?>
<a:theme xmlns:a="http://schemas.openxmlformats.org/drawingml/2006/main" name="2_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40</TotalTime>
  <Words>1647</Words>
  <Application>Microsoft Office PowerPoint</Application>
  <PresentationFormat>Widescreen</PresentationFormat>
  <Paragraphs>159</Paragraphs>
  <Slides>12</Slides>
  <Notes>11</Notes>
  <HiddenSlides>0</HiddenSlides>
  <MMClips>0</MMClips>
  <ScaleCrop>false</ScaleCrop>
  <HeadingPairs>
    <vt:vector size="10"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2</vt:i4>
      </vt:variant>
      <vt:variant>
        <vt:lpstr>Custom Shows</vt:lpstr>
      </vt:variant>
      <vt:variant>
        <vt:i4>1</vt:i4>
      </vt:variant>
    </vt:vector>
  </HeadingPairs>
  <TitlesOfParts>
    <vt:vector size="25" baseType="lpstr">
      <vt:lpstr>Arial</vt:lpstr>
      <vt:lpstr>Calibri</vt:lpstr>
      <vt:lpstr>Cambria</vt:lpstr>
      <vt:lpstr>Open Sans</vt:lpstr>
      <vt:lpstr>Open Sans Light</vt:lpstr>
      <vt:lpstr>Open Sans SemiBold</vt:lpstr>
      <vt:lpstr>Open Sans SemiBold</vt:lpstr>
      <vt:lpstr>Times New Roman</vt:lpstr>
      <vt:lpstr>Trebuchet MS</vt:lpstr>
      <vt:lpstr>Kansas Grid 16:9 - 12912</vt:lpstr>
      <vt:lpstr>2_Custom Design</vt:lpstr>
      <vt:lpstr>think-cell Slide</vt:lpstr>
      <vt:lpstr>PowerPoint Presentation</vt:lpstr>
      <vt:lpstr>Partners who contribute to Navigating Change</vt:lpstr>
      <vt:lpstr>K-12 schools opened in Wisconsin  following some of the recommended guidelines</vt:lpstr>
      <vt:lpstr>Changes to MS/HS Gating Criteria</vt:lpstr>
      <vt:lpstr>Changes to MS/HS Gating Criteria</vt:lpstr>
      <vt:lpstr>Changes to MS/HS Gating Criteria</vt:lpstr>
      <vt:lpstr>Changes to MS/HS Gating Criteria</vt:lpstr>
      <vt:lpstr>MS/HS Testing Strategy: Testing protocols to  alleviate COVID-19 concerns from students, staff &amp; community </vt:lpstr>
      <vt:lpstr>MS/HS Testing Strategy: Schools should adjust their  deployment strategy based on different criteria </vt:lpstr>
      <vt:lpstr>Shortened Quarantine Period After Exposure </vt:lpstr>
      <vt:lpstr>Key guidelines &amp; precautions to enable MS/HS to safely re-ope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akayla Auldridge</cp:lastModifiedBy>
  <cp:revision>599</cp:revision>
  <cp:lastPrinted>2000-01-01T08:00:00Z</cp:lastPrinted>
  <dcterms:created xsi:type="dcterms:W3CDTF">2021-01-27T16:53:53Z</dcterms:created>
  <dcterms:modified xsi:type="dcterms:W3CDTF">2021-08-30T13:5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